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ppt/notesSlides/notesSlide5.xml" ContentType="application/vnd.openxmlformats-officedocument.presentationml.notesSlide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425" r:id="rId5"/>
    <p:sldId id="688" r:id="rId6"/>
    <p:sldId id="690" r:id="rId7"/>
    <p:sldId id="694" r:id="rId8"/>
    <p:sldId id="691" r:id="rId9"/>
    <p:sldId id="692" r:id="rId10"/>
    <p:sldId id="693" r:id="rId11"/>
    <p:sldId id="413" r:id="rId12"/>
  </p:sldIdLst>
  <p:sldSz cx="12192000" cy="6858000"/>
  <p:notesSz cx="6858000" cy="9144000"/>
  <p:custDataLst>
    <p:tags r:id="rId15"/>
  </p:custDataLst>
  <p:defaultTextStyle>
    <a:defPPr marL="0" marR="0" indent="0" algn="l" defTabSz="4572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9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1pPr>
    <a:lvl2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2pPr>
    <a:lvl3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3pPr>
    <a:lvl4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4pPr>
    <a:lvl5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5pPr>
    <a:lvl6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6pPr>
    <a:lvl7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7pPr>
    <a:lvl8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8pPr>
    <a:lvl9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9pPr>
  </p:defaultTextStyle>
  <p:extLst>
    <p:ext uri="{EFAFB233-063F-42B5-8137-9DF3F51BA10A}">
      <p15:sldGuideLst xmlns:p15="http://schemas.microsoft.com/office/powerpoint/2012/main">
        <p15:guide id="2" orient="horz" pos="2183" userDrawn="1">
          <p15:clr>
            <a:srgbClr val="A4A3A4"/>
          </p15:clr>
        </p15:guide>
        <p15:guide id="3" pos="4543" userDrawn="1">
          <p15:clr>
            <a:srgbClr val="A4A3A4"/>
          </p15:clr>
        </p15:guide>
        <p15:guide id="4" pos="5586" userDrawn="1">
          <p15:clr>
            <a:srgbClr val="A4A3A4"/>
          </p15:clr>
        </p15:guide>
        <p15:guide id="5" pos="209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cisco López" initials="FL" lastIdx="1" clrIdx="0">
    <p:extLst>
      <p:ext uri="{19B8F6BF-5375-455C-9EA6-DF929625EA0E}">
        <p15:presenceInfo xmlns:p15="http://schemas.microsoft.com/office/powerpoint/2012/main" userId="c583e4eeb9a72cae" providerId="Windows Live"/>
      </p:ext>
    </p:extLst>
  </p:cmAuthor>
  <p:cmAuthor id="2" name="Labus Seric, Aneta" initials="LSA" lastIdx="13" clrIdx="1">
    <p:extLst>
      <p:ext uri="{19B8F6BF-5375-455C-9EA6-DF929625EA0E}">
        <p15:presenceInfo xmlns:p15="http://schemas.microsoft.com/office/powerpoint/2012/main" userId="S::alabuss@achs.cl::3e6a394c-38a0-4673-baac-c345465d03a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16161"/>
    <a:srgbClr val="106737"/>
    <a:srgbClr val="004F59"/>
    <a:srgbClr val="5F5F5F"/>
    <a:srgbClr val="8A8A8A"/>
    <a:srgbClr val="C98539"/>
    <a:srgbClr val="F2E500"/>
    <a:srgbClr val="ECC3B2"/>
    <a:srgbClr val="578D86"/>
    <a:srgbClr val="9D49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B275C8E-BA23-4442-90AC-9CF76CD7294C}" v="920" dt="2022-06-07T19:47:34.253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381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381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solidFill>
            <a:schemeClr val="accent1">
              <a:lumOff val="16847"/>
            </a:schemeClr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838383"/>
              </a:solidFill>
              <a:prstDash val="solid"/>
              <a:miter lim="400000"/>
            </a:ln>
          </a:left>
          <a:right>
            <a:ln w="12700" cap="flat">
              <a:solidFill>
                <a:srgbClr val="838383"/>
              </a:solidFill>
              <a:prstDash val="solid"/>
              <a:miter lim="400000"/>
            </a:ln>
          </a:right>
          <a:top>
            <a:ln w="12700" cap="flat">
              <a:solidFill>
                <a:srgbClr val="838383"/>
              </a:solidFill>
              <a:prstDash val="solid"/>
              <a:miter lim="400000"/>
            </a:ln>
          </a:top>
          <a:bottom>
            <a:ln w="12700" cap="flat">
              <a:solidFill>
                <a:srgbClr val="838383"/>
              </a:solidFill>
              <a:prstDash val="solid"/>
              <a:miter lim="400000"/>
            </a:ln>
          </a:bottom>
          <a:insideH>
            <a:ln w="12700" cap="flat">
              <a:solidFill>
                <a:srgbClr val="838383"/>
              </a:solidFill>
              <a:prstDash val="solid"/>
              <a:miter lim="400000"/>
            </a:ln>
          </a:insideH>
          <a:insideV>
            <a:ln w="12700" cap="flat">
              <a:solidFill>
                <a:srgbClr val="83838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808080"/>
              </a:solidFill>
              <a:prstDash val="solid"/>
              <a:miter lim="400000"/>
            </a:ln>
          </a:right>
          <a:top>
            <a:ln w="12700" cap="flat">
              <a:solidFill>
                <a:srgbClr val="808080"/>
              </a:solidFill>
              <a:prstDash val="solid"/>
              <a:miter lim="400000"/>
            </a:ln>
          </a:top>
          <a:bottom>
            <a:ln w="12700" cap="flat">
              <a:solidFill>
                <a:srgbClr val="808080"/>
              </a:solidFill>
              <a:prstDash val="solid"/>
              <a:miter lim="400000"/>
            </a:ln>
          </a:bottom>
          <a:insideH>
            <a:ln w="12700" cap="flat">
              <a:solidFill>
                <a:srgbClr val="808080"/>
              </a:solidFill>
              <a:prstDash val="solid"/>
              <a:miter lim="400000"/>
            </a:ln>
          </a:insideH>
          <a:insideV>
            <a:ln w="12700" cap="flat">
              <a:solidFill>
                <a:srgbClr val="808080"/>
              </a:solidFill>
              <a:prstDash val="solid"/>
              <a:miter lim="400000"/>
            </a:ln>
          </a:insideV>
        </a:tcBdr>
        <a:fill>
          <a:solidFill>
            <a:srgbClr val="88FA4F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chemeClr val="accent3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4D4D4D"/>
              </a:solidFill>
              <a:prstDash val="solid"/>
              <a:miter lim="400000"/>
            </a:ln>
          </a:right>
          <a:top>
            <a:ln w="12700" cap="flat">
              <a:solidFill>
                <a:srgbClr val="4D4D4D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4D4D4D"/>
              </a:solidFill>
              <a:prstDash val="solid"/>
              <a:miter lim="400000"/>
            </a:ln>
          </a:insideH>
          <a:insideV>
            <a:ln w="12700" cap="flat">
              <a:solidFill>
                <a:srgbClr val="4D4D4D"/>
              </a:solidFill>
              <a:prstDash val="solid"/>
              <a:miter lim="400000"/>
            </a:ln>
          </a:insideV>
        </a:tcBdr>
        <a:fill>
          <a:solidFill>
            <a:srgbClr val="60D937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chemeClr val="accent4">
              <a:hueOff val="348544"/>
              <a:lumOff val="7139"/>
            </a:schemeClr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8BB00"/>
          </a:solidFill>
        </a:fill>
      </a:tcStyle>
    </a:firstCol>
    <a:la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38100" cap="flat">
              <a:solidFill>
                <a:srgbClr val="F8BA00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464646"/>
              </a:solidFill>
              <a:prstDash val="solid"/>
              <a:miter lim="400000"/>
            </a:ln>
          </a:left>
          <a:right>
            <a:ln w="12700" cap="flat">
              <a:solidFill>
                <a:srgbClr val="464646"/>
              </a:solidFill>
              <a:prstDash val="solid"/>
              <a:miter lim="400000"/>
            </a:ln>
          </a:right>
          <a:top>
            <a:ln w="12700" cap="flat">
              <a:solidFill>
                <a:srgbClr val="464646"/>
              </a:solidFill>
              <a:prstDash val="solid"/>
              <a:miter lim="400000"/>
            </a:ln>
          </a:top>
          <a:bottom>
            <a:ln w="12700" cap="flat">
              <a:solidFill>
                <a:srgbClr val="464646"/>
              </a:solidFill>
              <a:prstDash val="solid"/>
              <a:miter lim="400000"/>
            </a:ln>
          </a:bottom>
          <a:insideH>
            <a:ln w="12700" cap="flat">
              <a:solidFill>
                <a:srgbClr val="464646"/>
              </a:solidFill>
              <a:prstDash val="solid"/>
              <a:miter lim="400000"/>
            </a:ln>
          </a:insideH>
          <a:insideV>
            <a:ln w="12700" cap="flat">
              <a:solidFill>
                <a:srgbClr val="464646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D4D5D5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C3C3C3"/>
              </a:solidFill>
              <a:prstDash val="solid"/>
              <a:miter lim="400000"/>
            </a:ln>
          </a:top>
          <a:bottom>
            <a:ln w="12700" cap="flat">
              <a:solidFill>
                <a:srgbClr val="C3C3C3"/>
              </a:solidFill>
              <a:prstDash val="solid"/>
              <a:miter lim="400000"/>
            </a:ln>
          </a:bottom>
          <a:insideH>
            <a:ln w="12700" cap="flat">
              <a:solidFill>
                <a:srgbClr val="C3C3C3"/>
              </a:solidFill>
              <a:prstDash val="solid"/>
              <a:miter lim="400000"/>
            </a:ln>
          </a:insideH>
          <a:insideV>
            <a:ln w="12700" cap="flat">
              <a:solidFill>
                <a:srgbClr val="C3C3C3"/>
              </a:solidFill>
              <a:prstDash val="solid"/>
              <a:miter lim="400000"/>
            </a:ln>
          </a:insideV>
        </a:tcBdr>
        <a:fill>
          <a:solidFill>
            <a:srgbClr val="CB2A7B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5E5E5E"/>
              </a:solidFill>
              <a:prstDash val="solid"/>
              <a:miter lim="400000"/>
            </a:ln>
          </a:right>
          <a:top>
            <a:ln w="38100" cap="flat">
              <a:solidFill>
                <a:srgbClr val="CB297B"/>
              </a:solidFill>
              <a:prstDash val="solid"/>
              <a:miter lim="400000"/>
            </a:ln>
          </a:top>
          <a:bottom>
            <a:ln w="12700" cap="flat">
              <a:solidFill>
                <a:srgbClr val="5E5E5E"/>
              </a:solidFill>
              <a:prstDash val="solid"/>
              <a:miter lim="400000"/>
            </a:ln>
          </a:bottom>
          <a:insideH>
            <a:ln w="12700" cap="flat">
              <a:solidFill>
                <a:srgbClr val="5E5E5E"/>
              </a:solidFill>
              <a:prstDash val="solid"/>
              <a:miter lim="400000"/>
            </a:ln>
          </a:insideH>
          <a:insideV>
            <a:ln w="12700" cap="flat">
              <a:solidFill>
                <a:srgbClr val="5E5E5E"/>
              </a:solidFill>
              <a:prstDash val="solid"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5E5E5E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991A5F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6C6C6C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6C6C6C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6C6C6C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D6DCE0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00" autoAdjust="0"/>
    <p:restoredTop sz="94663"/>
  </p:normalViewPr>
  <p:slideViewPr>
    <p:cSldViewPr snapToGrid="0" snapToObjects="1" showGuides="1">
      <p:cViewPr varScale="1">
        <p:scale>
          <a:sx n="52" d="100"/>
          <a:sy n="52" d="100"/>
        </p:scale>
        <p:origin x="717" y="41"/>
      </p:cViewPr>
      <p:guideLst>
        <p:guide orient="horz" pos="2183"/>
        <p:guide pos="4543"/>
        <p:guide pos="5586"/>
        <p:guide pos="209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593"/>
    </p:cViewPr>
  </p:sorterViewPr>
  <p:notesViewPr>
    <p:cSldViewPr snapToGrid="0" snapToObjects="1" showGuides="1">
      <p:cViewPr varScale="1">
        <p:scale>
          <a:sx n="97" d="100"/>
          <a:sy n="97" d="100"/>
        </p:scale>
        <p:origin x="4328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nto Retamal, Rodrigo Enrique" userId="09b922dc-e301-4f7a-90fe-e924f95e94b9" providerId="ADAL" clId="{012A3DD6-BCF1-473A-A28C-8B267A7E3C96}"/>
    <pc:docChg chg="custSel addSld delSld modSld sldOrd">
      <pc:chgData name="Pinto Retamal, Rodrigo Enrique" userId="09b922dc-e301-4f7a-90fe-e924f95e94b9" providerId="ADAL" clId="{012A3DD6-BCF1-473A-A28C-8B267A7E3C96}" dt="2022-05-23T15:22:23.367" v="2028" actId="20577"/>
      <pc:docMkLst>
        <pc:docMk/>
      </pc:docMkLst>
      <pc:sldChg chg="del">
        <pc:chgData name="Pinto Retamal, Rodrigo Enrique" userId="09b922dc-e301-4f7a-90fe-e924f95e94b9" providerId="ADAL" clId="{012A3DD6-BCF1-473A-A28C-8B267A7E3C96}" dt="2022-05-10T15:07:56.444" v="0" actId="47"/>
        <pc:sldMkLst>
          <pc:docMk/>
          <pc:sldMk cId="1564062549" sldId="334"/>
        </pc:sldMkLst>
      </pc:sldChg>
      <pc:sldChg chg="addSp delSp modSp mod">
        <pc:chgData name="Pinto Retamal, Rodrigo Enrique" userId="09b922dc-e301-4f7a-90fe-e924f95e94b9" providerId="ADAL" clId="{012A3DD6-BCF1-473A-A28C-8B267A7E3C96}" dt="2022-05-23T15:22:23.367" v="2028" actId="20577"/>
        <pc:sldMkLst>
          <pc:docMk/>
          <pc:sldMk cId="3688915657" sldId="425"/>
        </pc:sldMkLst>
        <pc:spChg chg="add mod">
          <ac:chgData name="Pinto Retamal, Rodrigo Enrique" userId="09b922dc-e301-4f7a-90fe-e924f95e94b9" providerId="ADAL" clId="{012A3DD6-BCF1-473A-A28C-8B267A7E3C96}" dt="2022-05-10T15:33:55.643" v="634" actId="20577"/>
          <ac:spMkLst>
            <pc:docMk/>
            <pc:sldMk cId="3688915657" sldId="425"/>
            <ac:spMk id="3" creationId="{E7544A0D-900A-480C-B886-7849D30A6750}"/>
          </ac:spMkLst>
        </pc:spChg>
        <pc:spChg chg="del">
          <ac:chgData name="Pinto Retamal, Rodrigo Enrique" userId="09b922dc-e301-4f7a-90fe-e924f95e94b9" providerId="ADAL" clId="{012A3DD6-BCF1-473A-A28C-8B267A7E3C96}" dt="2022-05-10T15:33:46.098" v="625" actId="478"/>
          <ac:spMkLst>
            <pc:docMk/>
            <pc:sldMk cId="3688915657" sldId="425"/>
            <ac:spMk id="14" creationId="{6358C045-A725-5D43-8B3F-37773A2DA245}"/>
          </ac:spMkLst>
        </pc:spChg>
        <pc:spChg chg="mod">
          <ac:chgData name="Pinto Retamal, Rodrigo Enrique" userId="09b922dc-e301-4f7a-90fe-e924f95e94b9" providerId="ADAL" clId="{012A3DD6-BCF1-473A-A28C-8B267A7E3C96}" dt="2022-05-23T15:22:23.367" v="2028" actId="20577"/>
          <ac:spMkLst>
            <pc:docMk/>
            <pc:sldMk cId="3688915657" sldId="425"/>
            <ac:spMk id="17" creationId="{B225B6FB-289B-594B-91A3-8CE0063C4B3E}"/>
          </ac:spMkLst>
        </pc:spChg>
      </pc:sldChg>
      <pc:sldChg chg="del">
        <pc:chgData name="Pinto Retamal, Rodrigo Enrique" userId="09b922dc-e301-4f7a-90fe-e924f95e94b9" providerId="ADAL" clId="{012A3DD6-BCF1-473A-A28C-8B267A7E3C96}" dt="2022-05-10T15:07:56.444" v="0" actId="47"/>
        <pc:sldMkLst>
          <pc:docMk/>
          <pc:sldMk cId="2097179026" sldId="426"/>
        </pc:sldMkLst>
      </pc:sldChg>
      <pc:sldChg chg="del">
        <pc:chgData name="Pinto Retamal, Rodrigo Enrique" userId="09b922dc-e301-4f7a-90fe-e924f95e94b9" providerId="ADAL" clId="{012A3DD6-BCF1-473A-A28C-8B267A7E3C96}" dt="2022-05-10T15:08:12.799" v="2" actId="47"/>
        <pc:sldMkLst>
          <pc:docMk/>
          <pc:sldMk cId="1250258993" sldId="427"/>
        </pc:sldMkLst>
      </pc:sldChg>
      <pc:sldChg chg="del">
        <pc:chgData name="Pinto Retamal, Rodrigo Enrique" userId="09b922dc-e301-4f7a-90fe-e924f95e94b9" providerId="ADAL" clId="{012A3DD6-BCF1-473A-A28C-8B267A7E3C96}" dt="2022-05-10T15:08:02.491" v="1" actId="47"/>
        <pc:sldMkLst>
          <pc:docMk/>
          <pc:sldMk cId="1483828587" sldId="428"/>
        </pc:sldMkLst>
      </pc:sldChg>
      <pc:sldChg chg="del">
        <pc:chgData name="Pinto Retamal, Rodrigo Enrique" userId="09b922dc-e301-4f7a-90fe-e924f95e94b9" providerId="ADAL" clId="{012A3DD6-BCF1-473A-A28C-8B267A7E3C96}" dt="2022-05-10T15:58:24.360" v="1443" actId="47"/>
        <pc:sldMkLst>
          <pc:docMk/>
          <pc:sldMk cId="1880715635" sldId="429"/>
        </pc:sldMkLst>
      </pc:sldChg>
      <pc:sldChg chg="del">
        <pc:chgData name="Pinto Retamal, Rodrigo Enrique" userId="09b922dc-e301-4f7a-90fe-e924f95e94b9" providerId="ADAL" clId="{012A3DD6-BCF1-473A-A28C-8B267A7E3C96}" dt="2022-05-10T15:58:24.360" v="1443" actId="47"/>
        <pc:sldMkLst>
          <pc:docMk/>
          <pc:sldMk cId="1733231172" sldId="430"/>
        </pc:sldMkLst>
      </pc:sldChg>
      <pc:sldChg chg="del">
        <pc:chgData name="Pinto Retamal, Rodrigo Enrique" userId="09b922dc-e301-4f7a-90fe-e924f95e94b9" providerId="ADAL" clId="{012A3DD6-BCF1-473A-A28C-8B267A7E3C96}" dt="2022-05-10T15:58:32.074" v="1445" actId="47"/>
        <pc:sldMkLst>
          <pc:docMk/>
          <pc:sldMk cId="829119846" sldId="431"/>
        </pc:sldMkLst>
      </pc:sldChg>
      <pc:sldChg chg="del">
        <pc:chgData name="Pinto Retamal, Rodrigo Enrique" userId="09b922dc-e301-4f7a-90fe-e924f95e94b9" providerId="ADAL" clId="{012A3DD6-BCF1-473A-A28C-8B267A7E3C96}" dt="2022-05-10T15:07:56.444" v="0" actId="47"/>
        <pc:sldMkLst>
          <pc:docMk/>
          <pc:sldMk cId="4228193878" sldId="434"/>
        </pc:sldMkLst>
      </pc:sldChg>
      <pc:sldChg chg="del">
        <pc:chgData name="Pinto Retamal, Rodrigo Enrique" userId="09b922dc-e301-4f7a-90fe-e924f95e94b9" providerId="ADAL" clId="{012A3DD6-BCF1-473A-A28C-8B267A7E3C96}" dt="2022-05-10T15:07:56.444" v="0" actId="47"/>
        <pc:sldMkLst>
          <pc:docMk/>
          <pc:sldMk cId="1649802328" sldId="439"/>
        </pc:sldMkLst>
      </pc:sldChg>
      <pc:sldChg chg="del">
        <pc:chgData name="Pinto Retamal, Rodrigo Enrique" userId="09b922dc-e301-4f7a-90fe-e924f95e94b9" providerId="ADAL" clId="{012A3DD6-BCF1-473A-A28C-8B267A7E3C96}" dt="2022-05-10T15:58:24.360" v="1443" actId="47"/>
        <pc:sldMkLst>
          <pc:docMk/>
          <pc:sldMk cId="3304971570" sldId="440"/>
        </pc:sldMkLst>
      </pc:sldChg>
      <pc:sldChg chg="del">
        <pc:chgData name="Pinto Retamal, Rodrigo Enrique" userId="09b922dc-e301-4f7a-90fe-e924f95e94b9" providerId="ADAL" clId="{012A3DD6-BCF1-473A-A28C-8B267A7E3C96}" dt="2022-05-10T15:08:12.799" v="2" actId="47"/>
        <pc:sldMkLst>
          <pc:docMk/>
          <pc:sldMk cId="3268781116" sldId="656"/>
        </pc:sldMkLst>
      </pc:sldChg>
      <pc:sldChg chg="del">
        <pc:chgData name="Pinto Retamal, Rodrigo Enrique" userId="09b922dc-e301-4f7a-90fe-e924f95e94b9" providerId="ADAL" clId="{012A3DD6-BCF1-473A-A28C-8B267A7E3C96}" dt="2022-05-10T15:58:24.360" v="1443" actId="47"/>
        <pc:sldMkLst>
          <pc:docMk/>
          <pc:sldMk cId="2430620837" sldId="657"/>
        </pc:sldMkLst>
      </pc:sldChg>
      <pc:sldChg chg="del">
        <pc:chgData name="Pinto Retamal, Rodrigo Enrique" userId="09b922dc-e301-4f7a-90fe-e924f95e94b9" providerId="ADAL" clId="{012A3DD6-BCF1-473A-A28C-8B267A7E3C96}" dt="2022-05-10T15:58:27.560" v="1444" actId="47"/>
        <pc:sldMkLst>
          <pc:docMk/>
          <pc:sldMk cId="1831839434" sldId="658"/>
        </pc:sldMkLst>
      </pc:sldChg>
      <pc:sldChg chg="del">
        <pc:chgData name="Pinto Retamal, Rodrigo Enrique" userId="09b922dc-e301-4f7a-90fe-e924f95e94b9" providerId="ADAL" clId="{012A3DD6-BCF1-473A-A28C-8B267A7E3C96}" dt="2022-05-10T15:08:02.491" v="1" actId="47"/>
        <pc:sldMkLst>
          <pc:docMk/>
          <pc:sldMk cId="1179495514" sldId="676"/>
        </pc:sldMkLst>
      </pc:sldChg>
      <pc:sldChg chg="del">
        <pc:chgData name="Pinto Retamal, Rodrigo Enrique" userId="09b922dc-e301-4f7a-90fe-e924f95e94b9" providerId="ADAL" clId="{012A3DD6-BCF1-473A-A28C-8B267A7E3C96}" dt="2022-05-10T15:08:02.491" v="1" actId="47"/>
        <pc:sldMkLst>
          <pc:docMk/>
          <pc:sldMk cId="923362368" sldId="678"/>
        </pc:sldMkLst>
      </pc:sldChg>
      <pc:sldChg chg="del">
        <pc:chgData name="Pinto Retamal, Rodrigo Enrique" userId="09b922dc-e301-4f7a-90fe-e924f95e94b9" providerId="ADAL" clId="{012A3DD6-BCF1-473A-A28C-8B267A7E3C96}" dt="2022-05-10T15:08:02.491" v="1" actId="47"/>
        <pc:sldMkLst>
          <pc:docMk/>
          <pc:sldMk cId="1778136608" sldId="681"/>
        </pc:sldMkLst>
      </pc:sldChg>
      <pc:sldChg chg="del">
        <pc:chgData name="Pinto Retamal, Rodrigo Enrique" userId="09b922dc-e301-4f7a-90fe-e924f95e94b9" providerId="ADAL" clId="{012A3DD6-BCF1-473A-A28C-8B267A7E3C96}" dt="2022-05-10T15:08:12.799" v="2" actId="47"/>
        <pc:sldMkLst>
          <pc:docMk/>
          <pc:sldMk cId="4240280144" sldId="682"/>
        </pc:sldMkLst>
      </pc:sldChg>
      <pc:sldChg chg="del">
        <pc:chgData name="Pinto Retamal, Rodrigo Enrique" userId="09b922dc-e301-4f7a-90fe-e924f95e94b9" providerId="ADAL" clId="{012A3DD6-BCF1-473A-A28C-8B267A7E3C96}" dt="2022-05-10T15:58:27.560" v="1444" actId="47"/>
        <pc:sldMkLst>
          <pc:docMk/>
          <pc:sldMk cId="270397944" sldId="684"/>
        </pc:sldMkLst>
      </pc:sldChg>
      <pc:sldChg chg="del">
        <pc:chgData name="Pinto Retamal, Rodrigo Enrique" userId="09b922dc-e301-4f7a-90fe-e924f95e94b9" providerId="ADAL" clId="{012A3DD6-BCF1-473A-A28C-8B267A7E3C96}" dt="2022-05-10T15:58:27.560" v="1444" actId="47"/>
        <pc:sldMkLst>
          <pc:docMk/>
          <pc:sldMk cId="3200962390" sldId="685"/>
        </pc:sldMkLst>
      </pc:sldChg>
      <pc:sldChg chg="del">
        <pc:chgData name="Pinto Retamal, Rodrigo Enrique" userId="09b922dc-e301-4f7a-90fe-e924f95e94b9" providerId="ADAL" clId="{012A3DD6-BCF1-473A-A28C-8B267A7E3C96}" dt="2022-05-10T15:58:27.560" v="1444" actId="47"/>
        <pc:sldMkLst>
          <pc:docMk/>
          <pc:sldMk cId="3403676980" sldId="686"/>
        </pc:sldMkLst>
      </pc:sldChg>
      <pc:sldChg chg="del">
        <pc:chgData name="Pinto Retamal, Rodrigo Enrique" userId="09b922dc-e301-4f7a-90fe-e924f95e94b9" providerId="ADAL" clId="{012A3DD6-BCF1-473A-A28C-8B267A7E3C96}" dt="2022-05-10T15:58:44.928" v="1446" actId="47"/>
        <pc:sldMkLst>
          <pc:docMk/>
          <pc:sldMk cId="4061302745" sldId="687"/>
        </pc:sldMkLst>
      </pc:sldChg>
      <pc:sldChg chg="addSp delSp modSp mod ord delAnim">
        <pc:chgData name="Pinto Retamal, Rodrigo Enrique" userId="09b922dc-e301-4f7a-90fe-e924f95e94b9" providerId="ADAL" clId="{012A3DD6-BCF1-473A-A28C-8B267A7E3C96}" dt="2022-05-23T15:15:34.262" v="1995" actId="1076"/>
        <pc:sldMkLst>
          <pc:docMk/>
          <pc:sldMk cId="4124398915" sldId="688"/>
        </pc:sldMkLst>
        <pc:spChg chg="mod">
          <ac:chgData name="Pinto Retamal, Rodrigo Enrique" userId="09b922dc-e301-4f7a-90fe-e924f95e94b9" providerId="ADAL" clId="{012A3DD6-BCF1-473A-A28C-8B267A7E3C96}" dt="2022-05-10T16:00:32.618" v="1503" actId="20577"/>
          <ac:spMkLst>
            <pc:docMk/>
            <pc:sldMk cId="4124398915" sldId="688"/>
            <ac:spMk id="24" creationId="{42B9B605-B12F-6147-BFF4-BCAF18B25A68}"/>
          </ac:spMkLst>
        </pc:spChg>
        <pc:spChg chg="mod">
          <ac:chgData name="Pinto Retamal, Rodrigo Enrique" userId="09b922dc-e301-4f7a-90fe-e924f95e94b9" providerId="ADAL" clId="{012A3DD6-BCF1-473A-A28C-8B267A7E3C96}" dt="2022-05-10T16:00:51.046" v="1527" actId="20577"/>
          <ac:spMkLst>
            <pc:docMk/>
            <pc:sldMk cId="4124398915" sldId="688"/>
            <ac:spMk id="25" creationId="{895E7C57-E423-7444-A1F9-CACBB7D8C0FB}"/>
          </ac:spMkLst>
        </pc:spChg>
        <pc:spChg chg="mod">
          <ac:chgData name="Pinto Retamal, Rodrigo Enrique" userId="09b922dc-e301-4f7a-90fe-e924f95e94b9" providerId="ADAL" clId="{012A3DD6-BCF1-473A-A28C-8B267A7E3C96}" dt="2022-05-10T16:01:12.663" v="1538" actId="1076"/>
          <ac:spMkLst>
            <pc:docMk/>
            <pc:sldMk cId="4124398915" sldId="688"/>
            <ac:spMk id="27" creationId="{CABF179A-1773-435C-8F5E-FF1B1B4CE1A2}"/>
          </ac:spMkLst>
        </pc:spChg>
        <pc:picChg chg="add mod modCrop">
          <ac:chgData name="Pinto Retamal, Rodrigo Enrique" userId="09b922dc-e301-4f7a-90fe-e924f95e94b9" providerId="ADAL" clId="{012A3DD6-BCF1-473A-A28C-8B267A7E3C96}" dt="2022-05-23T15:15:34.262" v="1995" actId="1076"/>
          <ac:picMkLst>
            <pc:docMk/>
            <pc:sldMk cId="4124398915" sldId="688"/>
            <ac:picMk id="4" creationId="{95FA0A58-0B08-4960-B520-6F310AEA21CF}"/>
          </ac:picMkLst>
        </pc:picChg>
        <pc:picChg chg="del mod">
          <ac:chgData name="Pinto Retamal, Rodrigo Enrique" userId="09b922dc-e301-4f7a-90fe-e924f95e94b9" providerId="ADAL" clId="{012A3DD6-BCF1-473A-A28C-8B267A7E3C96}" dt="2022-05-23T15:14:31.936" v="1985" actId="478"/>
          <ac:picMkLst>
            <pc:docMk/>
            <pc:sldMk cId="4124398915" sldId="688"/>
            <ac:picMk id="28" creationId="{8EAB4E58-486C-43F7-BA38-4CE505FFA3B0}"/>
          </ac:picMkLst>
        </pc:picChg>
        <pc:picChg chg="del mod">
          <ac:chgData name="Pinto Retamal, Rodrigo Enrique" userId="09b922dc-e301-4f7a-90fe-e924f95e94b9" providerId="ADAL" clId="{012A3DD6-BCF1-473A-A28C-8B267A7E3C96}" dt="2022-05-10T16:00:57.985" v="1532" actId="478"/>
          <ac:picMkLst>
            <pc:docMk/>
            <pc:sldMk cId="4124398915" sldId="688"/>
            <ac:picMk id="29" creationId="{E3886DD9-B1D5-4B0D-86CE-31F29D06A94F}"/>
          </ac:picMkLst>
        </pc:picChg>
        <pc:picChg chg="del mod">
          <ac:chgData name="Pinto Retamal, Rodrigo Enrique" userId="09b922dc-e301-4f7a-90fe-e924f95e94b9" providerId="ADAL" clId="{012A3DD6-BCF1-473A-A28C-8B267A7E3C96}" dt="2022-05-10T16:00:59.180" v="1534" actId="478"/>
          <ac:picMkLst>
            <pc:docMk/>
            <pc:sldMk cId="4124398915" sldId="688"/>
            <ac:picMk id="30" creationId="{63D715E8-8829-4133-B4CA-9523EAC8229E}"/>
          </ac:picMkLst>
        </pc:picChg>
        <pc:picChg chg="del mod">
          <ac:chgData name="Pinto Retamal, Rodrigo Enrique" userId="09b922dc-e301-4f7a-90fe-e924f95e94b9" providerId="ADAL" clId="{012A3DD6-BCF1-473A-A28C-8B267A7E3C96}" dt="2022-05-10T16:00:58.597" v="1533" actId="478"/>
          <ac:picMkLst>
            <pc:docMk/>
            <pc:sldMk cId="4124398915" sldId="688"/>
            <ac:picMk id="31" creationId="{54367D87-9CF1-4C7B-83B4-FE65C79F200A}"/>
          </ac:picMkLst>
        </pc:picChg>
        <pc:picChg chg="del mod">
          <ac:chgData name="Pinto Retamal, Rodrigo Enrique" userId="09b922dc-e301-4f7a-90fe-e924f95e94b9" providerId="ADAL" clId="{012A3DD6-BCF1-473A-A28C-8B267A7E3C96}" dt="2022-05-10T16:00:59.884" v="1535" actId="478"/>
          <ac:picMkLst>
            <pc:docMk/>
            <pc:sldMk cId="4124398915" sldId="688"/>
            <ac:picMk id="32" creationId="{BF081305-0574-4763-B83F-3CA7774607BB}"/>
          </ac:picMkLst>
        </pc:picChg>
      </pc:sldChg>
      <pc:sldChg chg="del">
        <pc:chgData name="Pinto Retamal, Rodrigo Enrique" userId="09b922dc-e301-4f7a-90fe-e924f95e94b9" providerId="ADAL" clId="{012A3DD6-BCF1-473A-A28C-8B267A7E3C96}" dt="2022-05-10T15:58:32.074" v="1445" actId="47"/>
        <pc:sldMkLst>
          <pc:docMk/>
          <pc:sldMk cId="1308101369" sldId="689"/>
        </pc:sldMkLst>
      </pc:sldChg>
      <pc:sldChg chg="addSp delSp modSp add mod">
        <pc:chgData name="Pinto Retamal, Rodrigo Enrique" userId="09b922dc-e301-4f7a-90fe-e924f95e94b9" providerId="ADAL" clId="{012A3DD6-BCF1-473A-A28C-8B267A7E3C96}" dt="2022-05-23T14:13:50.742" v="1567" actId="20577"/>
        <pc:sldMkLst>
          <pc:docMk/>
          <pc:sldMk cId="20312371" sldId="691"/>
        </pc:sldMkLst>
        <pc:spChg chg="mod">
          <ac:chgData name="Pinto Retamal, Rodrigo Enrique" userId="09b922dc-e301-4f7a-90fe-e924f95e94b9" providerId="ADAL" clId="{012A3DD6-BCF1-473A-A28C-8B267A7E3C96}" dt="2022-05-10T15:57:40.927" v="1438" actId="1076"/>
          <ac:spMkLst>
            <pc:docMk/>
            <pc:sldMk cId="20312371" sldId="691"/>
            <ac:spMk id="10" creationId="{188F7E02-E3B0-E243-B6C7-271683C98156}"/>
          </ac:spMkLst>
        </pc:spChg>
        <pc:spChg chg="mod">
          <ac:chgData name="Pinto Retamal, Rodrigo Enrique" userId="09b922dc-e301-4f7a-90fe-e924f95e94b9" providerId="ADAL" clId="{012A3DD6-BCF1-473A-A28C-8B267A7E3C96}" dt="2022-05-10T15:26:35.198" v="311" actId="1076"/>
          <ac:spMkLst>
            <pc:docMk/>
            <pc:sldMk cId="20312371" sldId="691"/>
            <ac:spMk id="11" creationId="{338C3E28-584A-481D-9727-82D5904B58C1}"/>
          </ac:spMkLst>
        </pc:spChg>
        <pc:spChg chg="mod">
          <ac:chgData name="Pinto Retamal, Rodrigo Enrique" userId="09b922dc-e301-4f7a-90fe-e924f95e94b9" providerId="ADAL" clId="{012A3DD6-BCF1-473A-A28C-8B267A7E3C96}" dt="2022-05-23T14:13:50.742" v="1567" actId="20577"/>
          <ac:spMkLst>
            <pc:docMk/>
            <pc:sldMk cId="20312371" sldId="691"/>
            <ac:spMk id="12" creationId="{60CB04F7-18DB-4947-B427-5F52C106A705}"/>
          </ac:spMkLst>
        </pc:spChg>
        <pc:spChg chg="mod">
          <ac:chgData name="Pinto Retamal, Rodrigo Enrique" userId="09b922dc-e301-4f7a-90fe-e924f95e94b9" providerId="ADAL" clId="{012A3DD6-BCF1-473A-A28C-8B267A7E3C96}" dt="2022-05-10T15:26:48.295" v="313" actId="1076"/>
          <ac:spMkLst>
            <pc:docMk/>
            <pc:sldMk cId="20312371" sldId="691"/>
            <ac:spMk id="14" creationId="{85AC8746-064E-4252-A39E-5DDE313FD271}"/>
          </ac:spMkLst>
        </pc:spChg>
        <pc:spChg chg="mod">
          <ac:chgData name="Pinto Retamal, Rodrigo Enrique" userId="09b922dc-e301-4f7a-90fe-e924f95e94b9" providerId="ADAL" clId="{012A3DD6-BCF1-473A-A28C-8B267A7E3C96}" dt="2022-05-10T15:57:56.246" v="1442" actId="1076"/>
          <ac:spMkLst>
            <pc:docMk/>
            <pc:sldMk cId="20312371" sldId="691"/>
            <ac:spMk id="15" creationId="{475950D1-4FC9-4694-B215-482A912B9031}"/>
          </ac:spMkLst>
        </pc:spChg>
        <pc:spChg chg="mod">
          <ac:chgData name="Pinto Retamal, Rodrigo Enrique" userId="09b922dc-e301-4f7a-90fe-e924f95e94b9" providerId="ADAL" clId="{012A3DD6-BCF1-473A-A28C-8B267A7E3C96}" dt="2022-05-10T15:10:25.498" v="4" actId="20577"/>
          <ac:spMkLst>
            <pc:docMk/>
            <pc:sldMk cId="20312371" sldId="691"/>
            <ac:spMk id="25" creationId="{895E7C57-E423-7444-A1F9-CACBB7D8C0FB}"/>
          </ac:spMkLst>
        </pc:spChg>
        <pc:picChg chg="del">
          <ac:chgData name="Pinto Retamal, Rodrigo Enrique" userId="09b922dc-e301-4f7a-90fe-e924f95e94b9" providerId="ADAL" clId="{012A3DD6-BCF1-473A-A28C-8B267A7E3C96}" dt="2022-05-10T15:10:30.190" v="6" actId="478"/>
          <ac:picMkLst>
            <pc:docMk/>
            <pc:sldMk cId="20312371" sldId="691"/>
            <ac:picMk id="4" creationId="{B6E48128-A02D-475E-B249-3C1792DAE8B1}"/>
          </ac:picMkLst>
        </pc:picChg>
        <pc:picChg chg="del">
          <ac:chgData name="Pinto Retamal, Rodrigo Enrique" userId="09b922dc-e301-4f7a-90fe-e924f95e94b9" providerId="ADAL" clId="{012A3DD6-BCF1-473A-A28C-8B267A7E3C96}" dt="2022-05-10T15:10:28.226" v="5" actId="478"/>
          <ac:picMkLst>
            <pc:docMk/>
            <pc:sldMk cId="20312371" sldId="691"/>
            <ac:picMk id="5" creationId="{CBB749E7-A8B7-4CAE-BC32-519A458A62D4}"/>
          </ac:picMkLst>
        </pc:picChg>
        <pc:picChg chg="del">
          <ac:chgData name="Pinto Retamal, Rodrigo Enrique" userId="09b922dc-e301-4f7a-90fe-e924f95e94b9" providerId="ADAL" clId="{012A3DD6-BCF1-473A-A28C-8B267A7E3C96}" dt="2022-05-10T15:10:33.658" v="8" actId="478"/>
          <ac:picMkLst>
            <pc:docMk/>
            <pc:sldMk cId="20312371" sldId="691"/>
            <ac:picMk id="6" creationId="{FE72F25E-AE1F-4BFE-AF13-07DEA3A5A01B}"/>
          </ac:picMkLst>
        </pc:picChg>
        <pc:picChg chg="add mod modCrop">
          <ac:chgData name="Pinto Retamal, Rodrigo Enrique" userId="09b922dc-e301-4f7a-90fe-e924f95e94b9" providerId="ADAL" clId="{012A3DD6-BCF1-473A-A28C-8B267A7E3C96}" dt="2022-05-10T15:18:04.568" v="21" actId="1076"/>
          <ac:picMkLst>
            <pc:docMk/>
            <pc:sldMk cId="20312371" sldId="691"/>
            <ac:picMk id="7" creationId="{DB715D40-D443-4415-96AF-81557E17AF00}"/>
          </ac:picMkLst>
        </pc:picChg>
        <pc:picChg chg="add mod">
          <ac:chgData name="Pinto Retamal, Rodrigo Enrique" userId="09b922dc-e301-4f7a-90fe-e924f95e94b9" providerId="ADAL" clId="{012A3DD6-BCF1-473A-A28C-8B267A7E3C96}" dt="2022-05-10T15:29:30.095" v="474" actId="1076"/>
          <ac:picMkLst>
            <pc:docMk/>
            <pc:sldMk cId="20312371" sldId="691"/>
            <ac:picMk id="9" creationId="{D5696594-C66A-45A3-B83C-EE9386A88429}"/>
          </ac:picMkLst>
        </pc:picChg>
        <pc:picChg chg="del">
          <ac:chgData name="Pinto Retamal, Rodrigo Enrique" userId="09b922dc-e301-4f7a-90fe-e924f95e94b9" providerId="ADAL" clId="{012A3DD6-BCF1-473A-A28C-8B267A7E3C96}" dt="2022-05-10T15:10:31.928" v="7" actId="478"/>
          <ac:picMkLst>
            <pc:docMk/>
            <pc:sldMk cId="20312371" sldId="691"/>
            <ac:picMk id="13" creationId="{A66859EC-0F1D-48B6-B078-0914CDBEC73C}"/>
          </ac:picMkLst>
        </pc:picChg>
        <pc:picChg chg="add mod">
          <ac:chgData name="Pinto Retamal, Rodrigo Enrique" userId="09b922dc-e301-4f7a-90fe-e924f95e94b9" providerId="ADAL" clId="{012A3DD6-BCF1-473A-A28C-8B267A7E3C96}" dt="2022-05-10T15:26:31.711" v="310" actId="1076"/>
          <ac:picMkLst>
            <pc:docMk/>
            <pc:sldMk cId="20312371" sldId="691"/>
            <ac:picMk id="17" creationId="{617604ED-287C-4854-833F-EA0DE7F112B8}"/>
          </ac:picMkLst>
        </pc:picChg>
      </pc:sldChg>
      <pc:sldChg chg="addSp delSp modSp add mod">
        <pc:chgData name="Pinto Retamal, Rodrigo Enrique" userId="09b922dc-e301-4f7a-90fe-e924f95e94b9" providerId="ADAL" clId="{012A3DD6-BCF1-473A-A28C-8B267A7E3C96}" dt="2022-05-23T15:08:06.279" v="1897" actId="20577"/>
        <pc:sldMkLst>
          <pc:docMk/>
          <pc:sldMk cId="2412653768" sldId="692"/>
        </pc:sldMkLst>
        <pc:spChg chg="add del mod">
          <ac:chgData name="Pinto Retamal, Rodrigo Enrique" userId="09b922dc-e301-4f7a-90fe-e924f95e94b9" providerId="ADAL" clId="{012A3DD6-BCF1-473A-A28C-8B267A7E3C96}" dt="2022-05-10T15:32:36.021" v="578" actId="478"/>
          <ac:spMkLst>
            <pc:docMk/>
            <pc:sldMk cId="2412653768" sldId="692"/>
            <ac:spMk id="4" creationId="{D5065462-09DB-4DEA-A670-B234034BCA4C}"/>
          </ac:spMkLst>
        </pc:spChg>
        <pc:spChg chg="del">
          <ac:chgData name="Pinto Retamal, Rodrigo Enrique" userId="09b922dc-e301-4f7a-90fe-e924f95e94b9" providerId="ADAL" clId="{012A3DD6-BCF1-473A-A28C-8B267A7E3C96}" dt="2022-05-10T15:32:30.018" v="577" actId="478"/>
          <ac:spMkLst>
            <pc:docMk/>
            <pc:sldMk cId="2412653768" sldId="692"/>
            <ac:spMk id="10" creationId="{188F7E02-E3B0-E243-B6C7-271683C98156}"/>
          </ac:spMkLst>
        </pc:spChg>
        <pc:spChg chg="mod">
          <ac:chgData name="Pinto Retamal, Rodrigo Enrique" userId="09b922dc-e301-4f7a-90fe-e924f95e94b9" providerId="ADAL" clId="{012A3DD6-BCF1-473A-A28C-8B267A7E3C96}" dt="2022-05-10T15:44:10.903" v="1021" actId="1076"/>
          <ac:spMkLst>
            <pc:docMk/>
            <pc:sldMk cId="2412653768" sldId="692"/>
            <ac:spMk id="11" creationId="{338C3E28-584A-481D-9727-82D5904B58C1}"/>
          </ac:spMkLst>
        </pc:spChg>
        <pc:spChg chg="del">
          <ac:chgData name="Pinto Retamal, Rodrigo Enrique" userId="09b922dc-e301-4f7a-90fe-e924f95e94b9" providerId="ADAL" clId="{012A3DD6-BCF1-473A-A28C-8B267A7E3C96}" dt="2022-05-10T15:32:38.237" v="579" actId="478"/>
          <ac:spMkLst>
            <pc:docMk/>
            <pc:sldMk cId="2412653768" sldId="692"/>
            <ac:spMk id="12" creationId="{60CB04F7-18DB-4947-B427-5F52C106A705}"/>
          </ac:spMkLst>
        </pc:spChg>
        <pc:spChg chg="mod">
          <ac:chgData name="Pinto Retamal, Rodrigo Enrique" userId="09b922dc-e301-4f7a-90fe-e924f95e94b9" providerId="ADAL" clId="{012A3DD6-BCF1-473A-A28C-8B267A7E3C96}" dt="2022-05-23T15:04:49.153" v="1611" actId="14100"/>
          <ac:spMkLst>
            <pc:docMk/>
            <pc:sldMk cId="2412653768" sldId="692"/>
            <ac:spMk id="14" creationId="{85AC8746-064E-4252-A39E-5DDE313FD271}"/>
          </ac:spMkLst>
        </pc:spChg>
        <pc:spChg chg="mod">
          <ac:chgData name="Pinto Retamal, Rodrigo Enrique" userId="09b922dc-e301-4f7a-90fe-e924f95e94b9" providerId="ADAL" clId="{012A3DD6-BCF1-473A-A28C-8B267A7E3C96}" dt="2022-05-10T15:41:22.124" v="967" actId="313"/>
          <ac:spMkLst>
            <pc:docMk/>
            <pc:sldMk cId="2412653768" sldId="692"/>
            <ac:spMk id="15" creationId="{475950D1-4FC9-4694-B215-482A912B9031}"/>
          </ac:spMkLst>
        </pc:spChg>
        <pc:spChg chg="add mod">
          <ac:chgData name="Pinto Retamal, Rodrigo Enrique" userId="09b922dc-e301-4f7a-90fe-e924f95e94b9" providerId="ADAL" clId="{012A3DD6-BCF1-473A-A28C-8B267A7E3C96}" dt="2022-05-10T15:48:12.510" v="1208" actId="20577"/>
          <ac:spMkLst>
            <pc:docMk/>
            <pc:sldMk cId="2412653768" sldId="692"/>
            <ac:spMk id="19" creationId="{37FF535C-3709-4A8F-A441-FE61C12349BA}"/>
          </ac:spMkLst>
        </pc:spChg>
        <pc:spChg chg="add mod">
          <ac:chgData name="Pinto Retamal, Rodrigo Enrique" userId="09b922dc-e301-4f7a-90fe-e924f95e94b9" providerId="ADAL" clId="{012A3DD6-BCF1-473A-A28C-8B267A7E3C96}" dt="2022-05-23T15:08:06.279" v="1897" actId="20577"/>
          <ac:spMkLst>
            <pc:docMk/>
            <pc:sldMk cId="2412653768" sldId="692"/>
            <ac:spMk id="21" creationId="{5E2BEE47-707B-492E-ADC9-AF495A1D3939}"/>
          </ac:spMkLst>
        </pc:spChg>
        <pc:spChg chg="mod">
          <ac:chgData name="Pinto Retamal, Rodrigo Enrique" userId="09b922dc-e301-4f7a-90fe-e924f95e94b9" providerId="ADAL" clId="{012A3DD6-BCF1-473A-A28C-8B267A7E3C96}" dt="2022-05-10T15:32:18.584" v="573" actId="6549"/>
          <ac:spMkLst>
            <pc:docMk/>
            <pc:sldMk cId="2412653768" sldId="692"/>
            <ac:spMk id="24" creationId="{42B9B605-B12F-6147-BFF4-BCAF18B25A68}"/>
          </ac:spMkLst>
        </pc:spChg>
        <pc:spChg chg="mod">
          <ac:chgData name="Pinto Retamal, Rodrigo Enrique" userId="09b922dc-e301-4f7a-90fe-e924f95e94b9" providerId="ADAL" clId="{012A3DD6-BCF1-473A-A28C-8B267A7E3C96}" dt="2022-05-10T15:37:56.495" v="772" actId="1076"/>
          <ac:spMkLst>
            <pc:docMk/>
            <pc:sldMk cId="2412653768" sldId="692"/>
            <ac:spMk id="25" creationId="{895E7C57-E423-7444-A1F9-CACBB7D8C0FB}"/>
          </ac:spMkLst>
        </pc:spChg>
        <pc:picChg chg="add mod">
          <ac:chgData name="Pinto Retamal, Rodrigo Enrique" userId="09b922dc-e301-4f7a-90fe-e924f95e94b9" providerId="ADAL" clId="{012A3DD6-BCF1-473A-A28C-8B267A7E3C96}" dt="2022-05-23T15:06:15.021" v="1619" actId="208"/>
          <ac:picMkLst>
            <pc:docMk/>
            <pc:sldMk cId="2412653768" sldId="692"/>
            <ac:picMk id="3" creationId="{3ACCB3BB-F35F-4F47-906B-D594D8DB826F}"/>
          </ac:picMkLst>
        </pc:picChg>
        <pc:picChg chg="add del mod modCrop">
          <ac:chgData name="Pinto Retamal, Rodrigo Enrique" userId="09b922dc-e301-4f7a-90fe-e924f95e94b9" providerId="ADAL" clId="{012A3DD6-BCF1-473A-A28C-8B267A7E3C96}" dt="2022-05-23T15:04:15.284" v="1569" actId="478"/>
          <ac:picMkLst>
            <pc:docMk/>
            <pc:sldMk cId="2412653768" sldId="692"/>
            <ac:picMk id="6" creationId="{31C18AEC-5C46-4E51-A1CF-6E02BD2F0EFE}"/>
          </ac:picMkLst>
        </pc:picChg>
        <pc:picChg chg="del">
          <ac:chgData name="Pinto Retamal, Rodrigo Enrique" userId="09b922dc-e301-4f7a-90fe-e924f95e94b9" providerId="ADAL" clId="{012A3DD6-BCF1-473A-A28C-8B267A7E3C96}" dt="2022-05-10T15:32:25.364" v="574" actId="478"/>
          <ac:picMkLst>
            <pc:docMk/>
            <pc:sldMk cId="2412653768" sldId="692"/>
            <ac:picMk id="7" creationId="{DB715D40-D443-4415-96AF-81557E17AF00}"/>
          </ac:picMkLst>
        </pc:picChg>
        <pc:picChg chg="del">
          <ac:chgData name="Pinto Retamal, Rodrigo Enrique" userId="09b922dc-e301-4f7a-90fe-e924f95e94b9" providerId="ADAL" clId="{012A3DD6-BCF1-473A-A28C-8B267A7E3C96}" dt="2022-05-10T15:32:27.087" v="576" actId="478"/>
          <ac:picMkLst>
            <pc:docMk/>
            <pc:sldMk cId="2412653768" sldId="692"/>
            <ac:picMk id="9" creationId="{D5696594-C66A-45A3-B83C-EE9386A88429}"/>
          </ac:picMkLst>
        </pc:picChg>
        <pc:picChg chg="add mod">
          <ac:chgData name="Pinto Retamal, Rodrigo Enrique" userId="09b922dc-e301-4f7a-90fe-e924f95e94b9" providerId="ADAL" clId="{012A3DD6-BCF1-473A-A28C-8B267A7E3C96}" dt="2022-05-10T15:38:04.326" v="773" actId="1076"/>
          <ac:picMkLst>
            <pc:docMk/>
            <pc:sldMk cId="2412653768" sldId="692"/>
            <ac:picMk id="16" creationId="{A55F6788-690F-4BF2-84B3-997B933C1FB7}"/>
          </ac:picMkLst>
        </pc:picChg>
        <pc:picChg chg="del">
          <ac:chgData name="Pinto Retamal, Rodrigo Enrique" userId="09b922dc-e301-4f7a-90fe-e924f95e94b9" providerId="ADAL" clId="{012A3DD6-BCF1-473A-A28C-8B267A7E3C96}" dt="2022-05-10T15:32:26.217" v="575" actId="478"/>
          <ac:picMkLst>
            <pc:docMk/>
            <pc:sldMk cId="2412653768" sldId="692"/>
            <ac:picMk id="17" creationId="{617604ED-287C-4854-833F-EA0DE7F112B8}"/>
          </ac:picMkLst>
        </pc:picChg>
        <pc:picChg chg="add mod">
          <ac:chgData name="Pinto Retamal, Rodrigo Enrique" userId="09b922dc-e301-4f7a-90fe-e924f95e94b9" providerId="ADAL" clId="{012A3DD6-BCF1-473A-A28C-8B267A7E3C96}" dt="2022-05-10T15:43:04.591" v="993" actId="1076"/>
          <ac:picMkLst>
            <pc:docMk/>
            <pc:sldMk cId="2412653768" sldId="692"/>
            <ac:picMk id="18" creationId="{993C613B-3568-407F-9640-6684E91F577D}"/>
          </ac:picMkLst>
        </pc:picChg>
      </pc:sldChg>
      <pc:sldChg chg="addSp delSp modSp add mod">
        <pc:chgData name="Pinto Retamal, Rodrigo Enrique" userId="09b922dc-e301-4f7a-90fe-e924f95e94b9" providerId="ADAL" clId="{012A3DD6-BCF1-473A-A28C-8B267A7E3C96}" dt="2022-05-23T15:13:49.503" v="1984" actId="14100"/>
        <pc:sldMkLst>
          <pc:docMk/>
          <pc:sldMk cId="1238913535" sldId="693"/>
        </pc:sldMkLst>
        <pc:spChg chg="add del mod">
          <ac:chgData name="Pinto Retamal, Rodrigo Enrique" userId="09b922dc-e301-4f7a-90fe-e924f95e94b9" providerId="ADAL" clId="{012A3DD6-BCF1-473A-A28C-8B267A7E3C96}" dt="2022-05-23T15:12:38.656" v="1921" actId="478"/>
          <ac:spMkLst>
            <pc:docMk/>
            <pc:sldMk cId="1238913535" sldId="693"/>
            <ac:spMk id="4" creationId="{010F6E93-FCBC-4BB2-919A-1995421FE237}"/>
          </ac:spMkLst>
        </pc:spChg>
        <pc:spChg chg="del">
          <ac:chgData name="Pinto Retamal, Rodrigo Enrique" userId="09b922dc-e301-4f7a-90fe-e924f95e94b9" providerId="ADAL" clId="{012A3DD6-BCF1-473A-A28C-8B267A7E3C96}" dt="2022-05-23T15:12:40.069" v="1922" actId="478"/>
          <ac:spMkLst>
            <pc:docMk/>
            <pc:sldMk cId="1238913535" sldId="693"/>
            <ac:spMk id="11" creationId="{338C3E28-584A-481D-9727-82D5904B58C1}"/>
          </ac:spMkLst>
        </pc:spChg>
        <pc:spChg chg="mod">
          <ac:chgData name="Pinto Retamal, Rodrigo Enrique" userId="09b922dc-e301-4f7a-90fe-e924f95e94b9" providerId="ADAL" clId="{012A3DD6-BCF1-473A-A28C-8B267A7E3C96}" dt="2022-05-23T15:13:36.017" v="1981" actId="313"/>
          <ac:spMkLst>
            <pc:docMk/>
            <pc:sldMk cId="1238913535" sldId="693"/>
            <ac:spMk id="14" creationId="{85AC8746-064E-4252-A39E-5DDE313FD271}"/>
          </ac:spMkLst>
        </pc:spChg>
        <pc:spChg chg="del">
          <ac:chgData name="Pinto Retamal, Rodrigo Enrique" userId="09b922dc-e301-4f7a-90fe-e924f95e94b9" providerId="ADAL" clId="{012A3DD6-BCF1-473A-A28C-8B267A7E3C96}" dt="2022-05-23T15:12:42.544" v="1925" actId="478"/>
          <ac:spMkLst>
            <pc:docMk/>
            <pc:sldMk cId="1238913535" sldId="693"/>
            <ac:spMk id="15" creationId="{475950D1-4FC9-4694-B215-482A912B9031}"/>
          </ac:spMkLst>
        </pc:spChg>
        <pc:spChg chg="del mod">
          <ac:chgData name="Pinto Retamal, Rodrigo Enrique" userId="09b922dc-e301-4f7a-90fe-e924f95e94b9" providerId="ADAL" clId="{012A3DD6-BCF1-473A-A28C-8B267A7E3C96}" dt="2022-05-23T15:12:43.924" v="1927" actId="478"/>
          <ac:spMkLst>
            <pc:docMk/>
            <pc:sldMk cId="1238913535" sldId="693"/>
            <ac:spMk id="19" creationId="{37FF535C-3709-4A8F-A441-FE61C12349BA}"/>
          </ac:spMkLst>
        </pc:spChg>
        <pc:spChg chg="mod">
          <ac:chgData name="Pinto Retamal, Rodrigo Enrique" userId="09b922dc-e301-4f7a-90fe-e924f95e94b9" providerId="ADAL" clId="{012A3DD6-BCF1-473A-A28C-8B267A7E3C96}" dt="2022-05-23T15:13:49.503" v="1984" actId="14100"/>
          <ac:spMkLst>
            <pc:docMk/>
            <pc:sldMk cId="1238913535" sldId="693"/>
            <ac:spMk id="21" creationId="{5E2BEE47-707B-492E-ADC9-AF495A1D3939}"/>
          </ac:spMkLst>
        </pc:spChg>
        <pc:spChg chg="mod">
          <ac:chgData name="Pinto Retamal, Rodrigo Enrique" userId="09b922dc-e301-4f7a-90fe-e924f95e94b9" providerId="ADAL" clId="{012A3DD6-BCF1-473A-A28C-8B267A7E3C96}" dt="2022-05-23T15:12:30.156" v="1919" actId="20577"/>
          <ac:spMkLst>
            <pc:docMk/>
            <pc:sldMk cId="1238913535" sldId="693"/>
            <ac:spMk id="24" creationId="{42B9B605-B12F-6147-BFF4-BCAF18B25A68}"/>
          </ac:spMkLst>
        </pc:spChg>
        <pc:spChg chg="del">
          <ac:chgData name="Pinto Retamal, Rodrigo Enrique" userId="09b922dc-e301-4f7a-90fe-e924f95e94b9" providerId="ADAL" clId="{012A3DD6-BCF1-473A-A28C-8B267A7E3C96}" dt="2022-05-23T15:12:37.245" v="1920" actId="478"/>
          <ac:spMkLst>
            <pc:docMk/>
            <pc:sldMk cId="1238913535" sldId="693"/>
            <ac:spMk id="25" creationId="{895E7C57-E423-7444-A1F9-CACBB7D8C0FB}"/>
          </ac:spMkLst>
        </pc:spChg>
        <pc:picChg chg="mod">
          <ac:chgData name="Pinto Retamal, Rodrigo Enrique" userId="09b922dc-e301-4f7a-90fe-e924f95e94b9" providerId="ADAL" clId="{012A3DD6-BCF1-473A-A28C-8B267A7E3C96}" dt="2022-05-23T15:12:52.190" v="1930" actId="1076"/>
          <ac:picMkLst>
            <pc:docMk/>
            <pc:sldMk cId="1238913535" sldId="693"/>
            <ac:picMk id="6" creationId="{31C18AEC-5C46-4E51-A1CF-6E02BD2F0EFE}"/>
          </ac:picMkLst>
        </pc:picChg>
        <pc:picChg chg="del">
          <ac:chgData name="Pinto Retamal, Rodrigo Enrique" userId="09b922dc-e301-4f7a-90fe-e924f95e94b9" providerId="ADAL" clId="{012A3DD6-BCF1-473A-A28C-8B267A7E3C96}" dt="2022-05-23T15:12:40.741" v="1923" actId="478"/>
          <ac:picMkLst>
            <pc:docMk/>
            <pc:sldMk cId="1238913535" sldId="693"/>
            <ac:picMk id="16" creationId="{A55F6788-690F-4BF2-84B3-997B933C1FB7}"/>
          </ac:picMkLst>
        </pc:picChg>
        <pc:picChg chg="del">
          <ac:chgData name="Pinto Retamal, Rodrigo Enrique" userId="09b922dc-e301-4f7a-90fe-e924f95e94b9" providerId="ADAL" clId="{012A3DD6-BCF1-473A-A28C-8B267A7E3C96}" dt="2022-05-23T15:12:41.359" v="1924" actId="478"/>
          <ac:picMkLst>
            <pc:docMk/>
            <pc:sldMk cId="1238913535" sldId="693"/>
            <ac:picMk id="18" creationId="{993C613B-3568-407F-9640-6684E91F577D}"/>
          </ac:picMkLst>
        </pc:picChg>
      </pc:sldChg>
      <pc:sldMasterChg chg="delSldLayout">
        <pc:chgData name="Pinto Retamal, Rodrigo Enrique" userId="09b922dc-e301-4f7a-90fe-e924f95e94b9" providerId="ADAL" clId="{012A3DD6-BCF1-473A-A28C-8B267A7E3C96}" dt="2022-05-10T15:08:12.799" v="2" actId="47"/>
        <pc:sldMasterMkLst>
          <pc:docMk/>
          <pc:sldMasterMk cId="0" sldId="2147483648"/>
        </pc:sldMasterMkLst>
        <pc:sldLayoutChg chg="del">
          <pc:chgData name="Pinto Retamal, Rodrigo Enrique" userId="09b922dc-e301-4f7a-90fe-e924f95e94b9" providerId="ADAL" clId="{012A3DD6-BCF1-473A-A28C-8B267A7E3C96}" dt="2022-05-10T15:08:12.799" v="2" actId="47"/>
          <pc:sldLayoutMkLst>
            <pc:docMk/>
            <pc:sldMasterMk cId="0" sldId="2147483648"/>
            <pc:sldLayoutMk cId="3218850466" sldId="2147483713"/>
          </pc:sldLayoutMkLst>
        </pc:sldLayoutChg>
      </pc:sldMasterChg>
    </pc:docChg>
  </pc:docChgLst>
  <pc:docChgLst>
    <pc:chgData name="Pinto Retamal, Rodrigo Enrique" userId="09b922dc-e301-4f7a-90fe-e924f95e94b9" providerId="ADAL" clId="{8B275C8E-BA23-4442-90AC-9CF76CD7294C}"/>
    <pc:docChg chg="custSel addSld modSld">
      <pc:chgData name="Pinto Retamal, Rodrigo Enrique" userId="09b922dc-e301-4f7a-90fe-e924f95e94b9" providerId="ADAL" clId="{8B275C8E-BA23-4442-90AC-9CF76CD7294C}" dt="2022-06-07T19:47:25.251" v="244" actId="1076"/>
      <pc:docMkLst>
        <pc:docMk/>
      </pc:docMkLst>
      <pc:sldChg chg="delSp modSp mod">
        <pc:chgData name="Pinto Retamal, Rodrigo Enrique" userId="09b922dc-e301-4f7a-90fe-e924f95e94b9" providerId="ADAL" clId="{8B275C8E-BA23-4442-90AC-9CF76CD7294C}" dt="2022-06-07T19:44:57.665" v="46" actId="1036"/>
        <pc:sldMkLst>
          <pc:docMk/>
          <pc:sldMk cId="2635848757" sldId="690"/>
        </pc:sldMkLst>
        <pc:spChg chg="mod">
          <ac:chgData name="Pinto Retamal, Rodrigo Enrique" userId="09b922dc-e301-4f7a-90fe-e924f95e94b9" providerId="ADAL" clId="{8B275C8E-BA23-4442-90AC-9CF76CD7294C}" dt="2022-06-07T19:44:57.665" v="46" actId="1036"/>
          <ac:spMkLst>
            <pc:docMk/>
            <pc:sldMk cId="2635848757" sldId="690"/>
            <ac:spMk id="11" creationId="{338C3E28-584A-481D-9727-82D5904B58C1}"/>
          </ac:spMkLst>
        </pc:spChg>
        <pc:spChg chg="mod">
          <ac:chgData name="Pinto Retamal, Rodrigo Enrique" userId="09b922dc-e301-4f7a-90fe-e924f95e94b9" providerId="ADAL" clId="{8B275C8E-BA23-4442-90AC-9CF76CD7294C}" dt="2022-06-07T19:44:57.665" v="46" actId="1036"/>
          <ac:spMkLst>
            <pc:docMk/>
            <pc:sldMk cId="2635848757" sldId="690"/>
            <ac:spMk id="12" creationId="{60CB04F7-18DB-4947-B427-5F52C106A705}"/>
          </ac:spMkLst>
        </pc:spChg>
        <pc:spChg chg="del">
          <ac:chgData name="Pinto Retamal, Rodrigo Enrique" userId="09b922dc-e301-4f7a-90fe-e924f95e94b9" providerId="ADAL" clId="{8B275C8E-BA23-4442-90AC-9CF76CD7294C}" dt="2022-06-07T19:44:49.767" v="9" actId="478"/>
          <ac:spMkLst>
            <pc:docMk/>
            <pc:sldMk cId="2635848757" sldId="690"/>
            <ac:spMk id="14" creationId="{85AC8746-064E-4252-A39E-5DDE313FD271}"/>
          </ac:spMkLst>
        </pc:spChg>
        <pc:spChg chg="del">
          <ac:chgData name="Pinto Retamal, Rodrigo Enrique" userId="09b922dc-e301-4f7a-90fe-e924f95e94b9" providerId="ADAL" clId="{8B275C8E-BA23-4442-90AC-9CF76CD7294C}" dt="2022-06-07T19:44:49.767" v="9" actId="478"/>
          <ac:spMkLst>
            <pc:docMk/>
            <pc:sldMk cId="2635848757" sldId="690"/>
            <ac:spMk id="15" creationId="{475950D1-4FC9-4694-B215-482A912B9031}"/>
          </ac:spMkLst>
        </pc:spChg>
        <pc:picChg chg="mod">
          <ac:chgData name="Pinto Retamal, Rodrigo Enrique" userId="09b922dc-e301-4f7a-90fe-e924f95e94b9" providerId="ADAL" clId="{8B275C8E-BA23-4442-90AC-9CF76CD7294C}" dt="2022-06-07T19:44:57.665" v="46" actId="1036"/>
          <ac:picMkLst>
            <pc:docMk/>
            <pc:sldMk cId="2635848757" sldId="690"/>
            <ac:picMk id="4" creationId="{B6E48128-A02D-475E-B249-3C1792DAE8B1}"/>
          </ac:picMkLst>
        </pc:picChg>
        <pc:picChg chg="del">
          <ac:chgData name="Pinto Retamal, Rodrigo Enrique" userId="09b922dc-e301-4f7a-90fe-e924f95e94b9" providerId="ADAL" clId="{8B275C8E-BA23-4442-90AC-9CF76CD7294C}" dt="2022-06-07T19:44:49.767" v="9" actId="478"/>
          <ac:picMkLst>
            <pc:docMk/>
            <pc:sldMk cId="2635848757" sldId="690"/>
            <ac:picMk id="6" creationId="{FE72F25E-AE1F-4BFE-AF13-07DEA3A5A01B}"/>
          </ac:picMkLst>
        </pc:picChg>
        <pc:picChg chg="mod">
          <ac:chgData name="Pinto Retamal, Rodrigo Enrique" userId="09b922dc-e301-4f7a-90fe-e924f95e94b9" providerId="ADAL" clId="{8B275C8E-BA23-4442-90AC-9CF76CD7294C}" dt="2022-06-07T19:44:57.665" v="46" actId="1036"/>
          <ac:picMkLst>
            <pc:docMk/>
            <pc:sldMk cId="2635848757" sldId="690"/>
            <ac:picMk id="13" creationId="{A66859EC-0F1D-48B6-B078-0914CDBEC73C}"/>
          </ac:picMkLst>
        </pc:picChg>
      </pc:sldChg>
      <pc:sldChg chg="addSp delSp modSp mod">
        <pc:chgData name="Pinto Retamal, Rodrigo Enrique" userId="09b922dc-e301-4f7a-90fe-e924f95e94b9" providerId="ADAL" clId="{8B275C8E-BA23-4442-90AC-9CF76CD7294C}" dt="2022-06-07T19:47:25.251" v="244" actId="1076"/>
        <pc:sldMkLst>
          <pc:docMk/>
          <pc:sldMk cId="20312371" sldId="691"/>
        </pc:sldMkLst>
        <pc:spChg chg="add del mod">
          <ac:chgData name="Pinto Retamal, Rodrigo Enrique" userId="09b922dc-e301-4f7a-90fe-e924f95e94b9" providerId="ADAL" clId="{8B275C8E-BA23-4442-90AC-9CF76CD7294C}" dt="2022-06-07T19:46:16.371" v="166" actId="478"/>
          <ac:spMkLst>
            <pc:docMk/>
            <pc:sldMk cId="20312371" sldId="691"/>
            <ac:spMk id="4" creationId="{61B81FB8-15C5-490F-86EF-BD12A2E0BC7E}"/>
          </ac:spMkLst>
        </pc:spChg>
        <pc:spChg chg="del">
          <ac:chgData name="Pinto Retamal, Rodrigo Enrique" userId="09b922dc-e301-4f7a-90fe-e924f95e94b9" providerId="ADAL" clId="{8B275C8E-BA23-4442-90AC-9CF76CD7294C}" dt="2022-06-07T19:45:58.576" v="161" actId="21"/>
          <ac:spMkLst>
            <pc:docMk/>
            <pc:sldMk cId="20312371" sldId="691"/>
            <ac:spMk id="10" creationId="{188F7E02-E3B0-E243-B6C7-271683C98156}"/>
          </ac:spMkLst>
        </pc:spChg>
        <pc:spChg chg="del">
          <ac:chgData name="Pinto Retamal, Rodrigo Enrique" userId="09b922dc-e301-4f7a-90fe-e924f95e94b9" providerId="ADAL" clId="{8B275C8E-BA23-4442-90AC-9CF76CD7294C}" dt="2022-06-07T19:47:11.050" v="176" actId="478"/>
          <ac:spMkLst>
            <pc:docMk/>
            <pc:sldMk cId="20312371" sldId="691"/>
            <ac:spMk id="11" creationId="{338C3E28-584A-481D-9727-82D5904B58C1}"/>
          </ac:spMkLst>
        </pc:spChg>
        <pc:spChg chg="del">
          <ac:chgData name="Pinto Retamal, Rodrigo Enrique" userId="09b922dc-e301-4f7a-90fe-e924f95e94b9" providerId="ADAL" clId="{8B275C8E-BA23-4442-90AC-9CF76CD7294C}" dt="2022-06-07T19:47:08.770" v="175" actId="478"/>
          <ac:spMkLst>
            <pc:docMk/>
            <pc:sldMk cId="20312371" sldId="691"/>
            <ac:spMk id="12" creationId="{60CB04F7-18DB-4947-B427-5F52C106A705}"/>
          </ac:spMkLst>
        </pc:spChg>
        <pc:spChg chg="del">
          <ac:chgData name="Pinto Retamal, Rodrigo Enrique" userId="09b922dc-e301-4f7a-90fe-e924f95e94b9" providerId="ADAL" clId="{8B275C8E-BA23-4442-90AC-9CF76CD7294C}" dt="2022-06-07T19:47:12.618" v="177" actId="478"/>
          <ac:spMkLst>
            <pc:docMk/>
            <pc:sldMk cId="20312371" sldId="691"/>
            <ac:spMk id="14" creationId="{85AC8746-064E-4252-A39E-5DDE313FD271}"/>
          </ac:spMkLst>
        </pc:spChg>
        <pc:spChg chg="mod">
          <ac:chgData name="Pinto Retamal, Rodrigo Enrique" userId="09b922dc-e301-4f7a-90fe-e924f95e94b9" providerId="ADAL" clId="{8B275C8E-BA23-4442-90AC-9CF76CD7294C}" dt="2022-06-07T19:47:25.251" v="244" actId="1076"/>
          <ac:spMkLst>
            <pc:docMk/>
            <pc:sldMk cId="20312371" sldId="691"/>
            <ac:spMk id="15" creationId="{475950D1-4FC9-4694-B215-482A912B9031}"/>
          </ac:spMkLst>
        </pc:spChg>
        <pc:spChg chg="mod">
          <ac:chgData name="Pinto Retamal, Rodrigo Enrique" userId="09b922dc-e301-4f7a-90fe-e924f95e94b9" providerId="ADAL" clId="{8B275C8E-BA23-4442-90AC-9CF76CD7294C}" dt="2022-06-07T19:47:19.504" v="243" actId="1036"/>
          <ac:spMkLst>
            <pc:docMk/>
            <pc:sldMk cId="20312371" sldId="691"/>
            <ac:spMk id="25" creationId="{895E7C57-E423-7444-A1F9-CACBB7D8C0FB}"/>
          </ac:spMkLst>
        </pc:spChg>
        <pc:picChg chg="del">
          <ac:chgData name="Pinto Retamal, Rodrigo Enrique" userId="09b922dc-e301-4f7a-90fe-e924f95e94b9" providerId="ADAL" clId="{8B275C8E-BA23-4442-90AC-9CF76CD7294C}" dt="2022-06-07T19:45:41.547" v="158" actId="21"/>
          <ac:picMkLst>
            <pc:docMk/>
            <pc:sldMk cId="20312371" sldId="691"/>
            <ac:picMk id="7" creationId="{DB715D40-D443-4415-96AF-81557E17AF00}"/>
          </ac:picMkLst>
        </pc:picChg>
        <pc:picChg chg="mod">
          <ac:chgData name="Pinto Retamal, Rodrigo Enrique" userId="09b922dc-e301-4f7a-90fe-e924f95e94b9" providerId="ADAL" clId="{8B275C8E-BA23-4442-90AC-9CF76CD7294C}" dt="2022-06-07T19:47:19.504" v="243" actId="1036"/>
          <ac:picMkLst>
            <pc:docMk/>
            <pc:sldMk cId="20312371" sldId="691"/>
            <ac:picMk id="9" creationId="{D5696594-C66A-45A3-B83C-EE9386A88429}"/>
          </ac:picMkLst>
        </pc:picChg>
        <pc:picChg chg="del">
          <ac:chgData name="Pinto Retamal, Rodrigo Enrique" userId="09b922dc-e301-4f7a-90fe-e924f95e94b9" providerId="ADAL" clId="{8B275C8E-BA23-4442-90AC-9CF76CD7294C}" dt="2022-06-07T19:46:19.429" v="167" actId="21"/>
          <ac:picMkLst>
            <pc:docMk/>
            <pc:sldMk cId="20312371" sldId="691"/>
            <ac:picMk id="17" creationId="{617604ED-287C-4854-833F-EA0DE7F112B8}"/>
          </ac:picMkLst>
        </pc:picChg>
      </pc:sldChg>
      <pc:sldChg chg="modSp mod">
        <pc:chgData name="Pinto Retamal, Rodrigo Enrique" userId="09b922dc-e301-4f7a-90fe-e924f95e94b9" providerId="ADAL" clId="{8B275C8E-BA23-4442-90AC-9CF76CD7294C}" dt="2022-06-07T19:43:04.364" v="7" actId="14100"/>
        <pc:sldMkLst>
          <pc:docMk/>
          <pc:sldMk cId="1238913535" sldId="693"/>
        </pc:sldMkLst>
        <pc:spChg chg="mod">
          <ac:chgData name="Pinto Retamal, Rodrigo Enrique" userId="09b922dc-e301-4f7a-90fe-e924f95e94b9" providerId="ADAL" clId="{8B275C8E-BA23-4442-90AC-9CF76CD7294C}" dt="2022-06-07T19:43:04.364" v="7" actId="14100"/>
          <ac:spMkLst>
            <pc:docMk/>
            <pc:sldMk cId="1238913535" sldId="693"/>
            <ac:spMk id="21" creationId="{5E2BEE47-707B-492E-ADC9-AF495A1D3939}"/>
          </ac:spMkLst>
        </pc:spChg>
      </pc:sldChg>
      <pc:sldChg chg="addSp delSp modSp add mod">
        <pc:chgData name="Pinto Retamal, Rodrigo Enrique" userId="09b922dc-e301-4f7a-90fe-e924f95e94b9" providerId="ADAL" clId="{8B275C8E-BA23-4442-90AC-9CF76CD7294C}" dt="2022-06-07T19:46:46.098" v="172" actId="1076"/>
        <pc:sldMkLst>
          <pc:docMk/>
          <pc:sldMk cId="4148883132" sldId="694"/>
        </pc:sldMkLst>
        <pc:spChg chg="add del mod">
          <ac:chgData name="Pinto Retamal, Rodrigo Enrique" userId="09b922dc-e301-4f7a-90fe-e924f95e94b9" providerId="ADAL" clId="{8B275C8E-BA23-4442-90AC-9CF76CD7294C}" dt="2022-06-07T19:45:18.056" v="50" actId="478"/>
          <ac:spMkLst>
            <pc:docMk/>
            <pc:sldMk cId="4148883132" sldId="694"/>
            <ac:spMk id="7" creationId="{E14F78A4-441F-45F8-AEE9-9BD7BDBC415E}"/>
          </ac:spMkLst>
        </pc:spChg>
        <pc:spChg chg="add del mod">
          <ac:chgData name="Pinto Retamal, Rodrigo Enrique" userId="09b922dc-e301-4f7a-90fe-e924f95e94b9" providerId="ADAL" clId="{8B275C8E-BA23-4442-90AC-9CF76CD7294C}" dt="2022-06-07T19:45:16.168" v="49" actId="478"/>
          <ac:spMkLst>
            <pc:docMk/>
            <pc:sldMk cId="4148883132" sldId="694"/>
            <ac:spMk id="9" creationId="{61A30D76-3BD2-4C1E-9551-93906D721F33}"/>
          </ac:spMkLst>
        </pc:spChg>
        <pc:spChg chg="del">
          <ac:chgData name="Pinto Retamal, Rodrigo Enrique" userId="09b922dc-e301-4f7a-90fe-e924f95e94b9" providerId="ADAL" clId="{8B275C8E-BA23-4442-90AC-9CF76CD7294C}" dt="2022-06-07T19:45:11.007" v="47" actId="478"/>
          <ac:spMkLst>
            <pc:docMk/>
            <pc:sldMk cId="4148883132" sldId="694"/>
            <ac:spMk id="10" creationId="{188F7E02-E3B0-E243-B6C7-271683C98156}"/>
          </ac:spMkLst>
        </pc:spChg>
        <pc:spChg chg="del">
          <ac:chgData name="Pinto Retamal, Rodrigo Enrique" userId="09b922dc-e301-4f7a-90fe-e924f95e94b9" providerId="ADAL" clId="{8B275C8E-BA23-4442-90AC-9CF76CD7294C}" dt="2022-06-07T19:45:11.007" v="47" actId="478"/>
          <ac:spMkLst>
            <pc:docMk/>
            <pc:sldMk cId="4148883132" sldId="694"/>
            <ac:spMk id="11" creationId="{338C3E28-584A-481D-9727-82D5904B58C1}"/>
          </ac:spMkLst>
        </pc:spChg>
        <pc:spChg chg="del">
          <ac:chgData name="Pinto Retamal, Rodrigo Enrique" userId="09b922dc-e301-4f7a-90fe-e924f95e94b9" providerId="ADAL" clId="{8B275C8E-BA23-4442-90AC-9CF76CD7294C}" dt="2022-06-07T19:45:11.007" v="47" actId="478"/>
          <ac:spMkLst>
            <pc:docMk/>
            <pc:sldMk cId="4148883132" sldId="694"/>
            <ac:spMk id="12" creationId="{60CB04F7-18DB-4947-B427-5F52C106A705}"/>
          </ac:spMkLst>
        </pc:spChg>
        <pc:spChg chg="mod">
          <ac:chgData name="Pinto Retamal, Rodrigo Enrique" userId="09b922dc-e301-4f7a-90fe-e924f95e94b9" providerId="ADAL" clId="{8B275C8E-BA23-4442-90AC-9CF76CD7294C}" dt="2022-06-07T19:46:30.555" v="170" actId="1076"/>
          <ac:spMkLst>
            <pc:docMk/>
            <pc:sldMk cId="4148883132" sldId="694"/>
            <ac:spMk id="14" creationId="{85AC8746-064E-4252-A39E-5DDE313FD271}"/>
          </ac:spMkLst>
        </pc:spChg>
        <pc:spChg chg="mod">
          <ac:chgData name="Pinto Retamal, Rodrigo Enrique" userId="09b922dc-e301-4f7a-90fe-e924f95e94b9" providerId="ADAL" clId="{8B275C8E-BA23-4442-90AC-9CF76CD7294C}" dt="2022-06-07T19:45:33.678" v="157" actId="1035"/>
          <ac:spMkLst>
            <pc:docMk/>
            <pc:sldMk cId="4148883132" sldId="694"/>
            <ac:spMk id="15" creationId="{475950D1-4FC9-4694-B215-482A912B9031}"/>
          </ac:spMkLst>
        </pc:spChg>
        <pc:spChg chg="add mod">
          <ac:chgData name="Pinto Retamal, Rodrigo Enrique" userId="09b922dc-e301-4f7a-90fe-e924f95e94b9" providerId="ADAL" clId="{8B275C8E-BA23-4442-90AC-9CF76CD7294C}" dt="2022-06-07T19:46:10.042" v="165" actId="1076"/>
          <ac:spMkLst>
            <pc:docMk/>
            <pc:sldMk cId="4148883132" sldId="694"/>
            <ac:spMk id="20" creationId="{9D5CC5B3-19B3-4F28-92F5-1B3FB942A9AC}"/>
          </ac:spMkLst>
        </pc:spChg>
        <pc:spChg chg="add mod">
          <ac:chgData name="Pinto Retamal, Rodrigo Enrique" userId="09b922dc-e301-4f7a-90fe-e924f95e94b9" providerId="ADAL" clId="{8B275C8E-BA23-4442-90AC-9CF76CD7294C}" dt="2022-06-07T19:46:46.098" v="172" actId="1076"/>
          <ac:spMkLst>
            <pc:docMk/>
            <pc:sldMk cId="4148883132" sldId="694"/>
            <ac:spMk id="22" creationId="{A3B57DF0-C142-4472-B3A6-F542069B4DB6}"/>
          </ac:spMkLst>
        </pc:spChg>
        <pc:spChg chg="del">
          <ac:chgData name="Pinto Retamal, Rodrigo Enrique" userId="09b922dc-e301-4f7a-90fe-e924f95e94b9" providerId="ADAL" clId="{8B275C8E-BA23-4442-90AC-9CF76CD7294C}" dt="2022-06-07T19:45:11.007" v="47" actId="478"/>
          <ac:spMkLst>
            <pc:docMk/>
            <pc:sldMk cId="4148883132" sldId="694"/>
            <ac:spMk id="25" creationId="{895E7C57-E423-7444-A1F9-CACBB7D8C0FB}"/>
          </ac:spMkLst>
        </pc:spChg>
        <pc:picChg chg="del">
          <ac:chgData name="Pinto Retamal, Rodrigo Enrique" userId="09b922dc-e301-4f7a-90fe-e924f95e94b9" providerId="ADAL" clId="{8B275C8E-BA23-4442-90AC-9CF76CD7294C}" dt="2022-06-07T19:45:11.007" v="47" actId="478"/>
          <ac:picMkLst>
            <pc:docMk/>
            <pc:sldMk cId="4148883132" sldId="694"/>
            <ac:picMk id="4" creationId="{B6E48128-A02D-475E-B249-3C1792DAE8B1}"/>
          </ac:picMkLst>
        </pc:picChg>
        <pc:picChg chg="del">
          <ac:chgData name="Pinto Retamal, Rodrigo Enrique" userId="09b922dc-e301-4f7a-90fe-e924f95e94b9" providerId="ADAL" clId="{8B275C8E-BA23-4442-90AC-9CF76CD7294C}" dt="2022-06-07T19:45:18.637" v="51" actId="478"/>
          <ac:picMkLst>
            <pc:docMk/>
            <pc:sldMk cId="4148883132" sldId="694"/>
            <ac:picMk id="5" creationId="{CBB749E7-A8B7-4CAE-BC32-519A458A62D4}"/>
          </ac:picMkLst>
        </pc:picChg>
        <pc:picChg chg="mod">
          <ac:chgData name="Pinto Retamal, Rodrigo Enrique" userId="09b922dc-e301-4f7a-90fe-e924f95e94b9" providerId="ADAL" clId="{8B275C8E-BA23-4442-90AC-9CF76CD7294C}" dt="2022-06-07T19:45:33.678" v="157" actId="1035"/>
          <ac:picMkLst>
            <pc:docMk/>
            <pc:sldMk cId="4148883132" sldId="694"/>
            <ac:picMk id="6" creationId="{FE72F25E-AE1F-4BFE-AF13-07DEA3A5A01B}"/>
          </ac:picMkLst>
        </pc:picChg>
        <pc:picChg chg="del">
          <ac:chgData name="Pinto Retamal, Rodrigo Enrique" userId="09b922dc-e301-4f7a-90fe-e924f95e94b9" providerId="ADAL" clId="{8B275C8E-BA23-4442-90AC-9CF76CD7294C}" dt="2022-06-07T19:45:11.007" v="47" actId="478"/>
          <ac:picMkLst>
            <pc:docMk/>
            <pc:sldMk cId="4148883132" sldId="694"/>
            <ac:picMk id="13" creationId="{A66859EC-0F1D-48B6-B078-0914CDBEC73C}"/>
          </ac:picMkLst>
        </pc:picChg>
        <pc:picChg chg="add mod">
          <ac:chgData name="Pinto Retamal, Rodrigo Enrique" userId="09b922dc-e301-4f7a-90fe-e924f95e94b9" providerId="ADAL" clId="{8B275C8E-BA23-4442-90AC-9CF76CD7294C}" dt="2022-06-07T19:46:07.026" v="164" actId="1076"/>
          <ac:picMkLst>
            <pc:docMk/>
            <pc:sldMk cId="4148883132" sldId="694"/>
            <ac:picMk id="19" creationId="{9D54F1F4-093C-43AD-8433-AD793C04B59C}"/>
          </ac:picMkLst>
        </pc:picChg>
        <pc:picChg chg="add mod">
          <ac:chgData name="Pinto Retamal, Rodrigo Enrique" userId="09b922dc-e301-4f7a-90fe-e924f95e94b9" providerId="ADAL" clId="{8B275C8E-BA23-4442-90AC-9CF76CD7294C}" dt="2022-06-07T19:46:25.531" v="169" actId="1076"/>
          <ac:picMkLst>
            <pc:docMk/>
            <pc:sldMk cId="4148883132" sldId="694"/>
            <ac:picMk id="21" creationId="{4EC9E472-AFFF-4640-A9C2-1D1F6F92AB4F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B9188E16-A5FE-A144-97F6-5D99CCB6C3C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795B1F7A-4E48-CD4F-94BA-B2FCC45F7BE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9CEFCD-101D-B344-A216-EEBAD2A9FEC9}" type="datetimeFigureOut">
              <a:rPr lang="es-CL" smtClean="0"/>
              <a:t>07-06-2022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47EA905C-21BA-E14A-AA0A-091761D2F16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E4F9FCA-A903-9A42-9C83-FDEC2A53390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80C8CA-6B66-244E-B272-B10E2DDA1CC0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4679758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46" name="Shape 46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228600" latinLnBrk="0">
      <a:lnSpc>
        <a:spcPct val="117999"/>
      </a:lnSpc>
      <a:defRPr sz="1100" b="0" i="0">
        <a:latin typeface="Arial" panose="020B0604020202020204" pitchFamily="34" charset="0"/>
        <a:ea typeface="+mn-ea"/>
        <a:cs typeface="Arial" panose="020B0604020202020204" pitchFamily="34" charset="0"/>
        <a:sym typeface="Helvetica Neue"/>
      </a:defRPr>
    </a:lvl1pPr>
    <a:lvl2pPr indent="1143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2pPr>
    <a:lvl3pPr indent="2286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3pPr>
    <a:lvl4pPr indent="3429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4pPr>
    <a:lvl5pPr indent="4572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5pPr>
    <a:lvl6pPr indent="5715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6pPr>
    <a:lvl7pPr indent="6858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7pPr>
    <a:lvl8pPr indent="8001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8pPr>
    <a:lvl9pPr indent="9144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0920513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1449655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7135019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6370232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1224640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2008816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3.emf"/><Relationship Id="rId4" Type="http://schemas.openxmlformats.org/officeDocument/2006/relationships/image" Target="../media/image12.emf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3.emf"/><Relationship Id="rId4" Type="http://schemas.openxmlformats.org/officeDocument/2006/relationships/image" Target="../media/image13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3.emf"/><Relationship Id="rId4" Type="http://schemas.openxmlformats.org/officeDocument/2006/relationships/image" Target="../media/image1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3.emf"/><Relationship Id="rId4" Type="http://schemas.openxmlformats.org/officeDocument/2006/relationships/image" Target="../media/image15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3.emf"/><Relationship Id="rId4" Type="http://schemas.openxmlformats.org/officeDocument/2006/relationships/image" Target="../media/image16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8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0.sv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23.png"/><Relationship Id="rId4" Type="http://schemas.openxmlformats.org/officeDocument/2006/relationships/image" Target="../media/image2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image" Target="../media/image5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image" Target="../media/image7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3.emf"/><Relationship Id="rId4" Type="http://schemas.openxmlformats.org/officeDocument/2006/relationships/image" Target="../media/image9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3.emf"/><Relationship Id="rId4" Type="http://schemas.openxmlformats.org/officeDocument/2006/relationships/image" Target="../media/image10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3.emf"/><Relationship Id="rId4" Type="http://schemas.openxmlformats.org/officeDocument/2006/relationships/image" Target="../media/image1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ada con vide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B0334AC3-1221-0D47-8376-248BE6D99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31059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B0334AC3-1221-0D47-8376-248BE6D99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0894936" y="5576309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200" dirty="0" err="1">
                <a:solidFill>
                  <a:schemeClr val="tx1"/>
                </a:solidFill>
              </a:rPr>
              <a:t>Asociación</a:t>
            </a:r>
            <a:r>
              <a:rPr sz="1200" dirty="0">
                <a:solidFill>
                  <a:schemeClr val="tx1"/>
                </a:solidFill>
              </a:rPr>
              <a:t> </a:t>
            </a:r>
            <a:r>
              <a:rPr sz="1200" dirty="0" err="1">
                <a:solidFill>
                  <a:schemeClr val="tx1"/>
                </a:solidFill>
              </a:rPr>
              <a:t>Chilena</a:t>
            </a:r>
            <a:r>
              <a:rPr sz="1200" dirty="0">
                <a:solidFill>
                  <a:schemeClr val="tx1"/>
                </a:solidFill>
              </a:rPr>
              <a:t> de </a:t>
            </a:r>
            <a:r>
              <a:rPr sz="1200" dirty="0" err="1">
                <a:solidFill>
                  <a:schemeClr val="tx1"/>
                </a:solidFill>
              </a:rPr>
              <a:t>Seguridad</a:t>
            </a:r>
            <a:endParaRPr sz="1200" dirty="0">
              <a:solidFill>
                <a:schemeClr val="tx1"/>
              </a:solidFill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938646" y="452438"/>
            <a:ext cx="796227" cy="796227"/>
          </a:xfrm>
          <a:prstGeom prst="rect">
            <a:avLst/>
          </a:prstGeom>
        </p:spPr>
      </p:pic>
      <p:sp>
        <p:nvSpPr>
          <p:cNvPr id="3" name="Marcador de medios 2">
            <a:extLst>
              <a:ext uri="{FF2B5EF4-FFF2-40B4-BE49-F238E27FC236}">
                <a16:creationId xmlns:a16="http://schemas.microsoft.com/office/drawing/2014/main" id="{C973E70C-A82E-2D4A-9356-A6B7BEB2D9E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4521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E34CFCBD-6BB7-F648-9E9C-2744D15597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47905" y="6307024"/>
            <a:ext cx="1039662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1C8615B2-F301-C248-8F1D-74E1A6F6E8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128" y="1248665"/>
            <a:ext cx="4901682" cy="130036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  <a:highlight>
                  <a:srgbClr val="106737"/>
                </a:highlight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Bold - 3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2779475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658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157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4383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 para incorporar una imagen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56" name="Marcador de posición de imagen 48">
            <a:extLst>
              <a:ext uri="{FF2B5EF4-FFF2-40B4-BE49-F238E27FC236}">
                <a16:creationId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66699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49605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61" name="Título 1">
            <a:extLst>
              <a:ext uri="{FF2B5EF4-FFF2-40B4-BE49-F238E27FC236}">
                <a16:creationId xmlns:a16="http://schemas.microsoft.com/office/drawing/2014/main" id="{AF37E838-6566-A847-ABB9-7092F1C160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28" y="458787"/>
            <a:ext cx="5120382" cy="720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0</a:t>
            </a:r>
            <a:endParaRPr lang="es-CL" dirty="0"/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2215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4383" y="4082327"/>
            <a:ext cx="1910496" cy="156391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spcAft>
                <a:spcPts val="1000"/>
              </a:spcAft>
              <a:buNone/>
              <a:defRPr sz="1600" b="1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 dirty="0">
                <a:solidFill>
                  <a:schemeClr val="bg2"/>
                </a:solidFill>
              </a:rPr>
              <a:t>Texto que indica el capítulo en el que estamos</a:t>
            </a:r>
          </a:p>
          <a:p>
            <a:r>
              <a:rPr lang="es-ES" dirty="0">
                <a:solidFill>
                  <a:schemeClr val="bg2"/>
                </a:solidFill>
              </a:rPr>
              <a:t>Arial 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67014" y="4082774"/>
            <a:ext cx="191049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ombre Capítulo 2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9645" y="4082774"/>
            <a:ext cx="191049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ombre Capítulo 3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2275" y="4082774"/>
            <a:ext cx="1910496" cy="15634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ombre Capítulo 4</a:t>
            </a:r>
            <a:br>
              <a:rPr lang="es-ES" dirty="0"/>
            </a:br>
            <a:r>
              <a:rPr lang="es-ES" dirty="0"/>
              <a:t>Arial 16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6624" y="1926714"/>
            <a:ext cx="1199956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2434" y="1926714"/>
            <a:ext cx="1199956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3" name="Marcador de texto 4">
            <a:extLst>
              <a:ext uri="{FF2B5EF4-FFF2-40B4-BE49-F238E27FC236}">
                <a16:creationId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98244" y="1926714"/>
            <a:ext cx="1199956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684055" y="1926714"/>
            <a:ext cx="1199956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07081626-6779-8F48-ACCC-F89FF4EFC3FB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0" name="Marcador de número de diapositiva 1">
            <a:extLst>
              <a:ext uri="{FF2B5EF4-FFF2-40B4-BE49-F238E27FC236}">
                <a16:creationId xmlns:a16="http://schemas.microsoft.com/office/drawing/2014/main" id="{FDE431FB-014C-F048-8EDC-BF5DCEA4DFD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33300340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289" userDrawn="1">
          <p15:clr>
            <a:srgbClr val="FBAE40"/>
          </p15:clr>
        </p15:guide>
        <p15:guide id="4" pos="7061" userDrawn="1">
          <p15:clr>
            <a:srgbClr val="FBAE40"/>
          </p15:clr>
        </p15:guide>
        <p15:guide id="5" orient="horz" pos="155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613260"/>
            <a:ext cx="2401643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 flipH="1">
            <a:off x="443707" y="3340780"/>
            <a:ext cx="2404800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10144" y="2750750"/>
            <a:ext cx="1266108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09EEDC92-36AB-3740-B395-D2782D6591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28642" y="3613260"/>
            <a:ext cx="2401643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4" name="Conector recto 74">
            <a:extLst>
              <a:ext uri="{FF2B5EF4-FFF2-40B4-BE49-F238E27FC236}">
                <a16:creationId xmlns:a16="http://schemas.microsoft.com/office/drawing/2014/main" id="{1892524C-5625-4F43-95F1-2336FF662D99}"/>
              </a:ext>
            </a:extLst>
          </p:cNvPr>
          <p:cNvSpPr/>
          <p:nvPr userDrawn="1"/>
        </p:nvSpPr>
        <p:spPr>
          <a:xfrm flipH="1">
            <a:off x="9325485" y="3340780"/>
            <a:ext cx="2404800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75" name="Marcador de texto 7">
            <a:extLst>
              <a:ext uri="{FF2B5EF4-FFF2-40B4-BE49-F238E27FC236}">
                <a16:creationId xmlns:a16="http://schemas.microsoft.com/office/drawing/2014/main" id="{FBDEA04A-F7FF-7A4B-A6D6-7B80347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487566" y="2750750"/>
            <a:ext cx="1327577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</a:p>
          <a:p>
            <a:pPr lvl="0"/>
            <a:endParaRPr lang="es-CL" dirty="0"/>
          </a:p>
        </p:txBody>
      </p:sp>
      <p:sp>
        <p:nvSpPr>
          <p:cNvPr id="79" name="Marcador de texto 7">
            <a:extLst>
              <a:ext uri="{FF2B5EF4-FFF2-40B4-BE49-F238E27FC236}">
                <a16:creationId xmlns:a16="http://schemas.microsoft.com/office/drawing/2014/main" id="{F5423D24-59DD-744A-8BC7-9DE94EAB4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85092" y="3613260"/>
            <a:ext cx="2401643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0" name="Conector recto 74">
            <a:extLst>
              <a:ext uri="{FF2B5EF4-FFF2-40B4-BE49-F238E27FC236}">
                <a16:creationId xmlns:a16="http://schemas.microsoft.com/office/drawing/2014/main" id="{4B745506-C1E7-2346-B2DA-DBC633F63A51}"/>
              </a:ext>
            </a:extLst>
          </p:cNvPr>
          <p:cNvSpPr/>
          <p:nvPr userDrawn="1"/>
        </p:nvSpPr>
        <p:spPr>
          <a:xfrm flipH="1">
            <a:off x="6385092" y="3340780"/>
            <a:ext cx="2404800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81" name="Marcador de texto 7">
            <a:extLst>
              <a:ext uri="{FF2B5EF4-FFF2-40B4-BE49-F238E27FC236}">
                <a16:creationId xmlns:a16="http://schemas.microsoft.com/office/drawing/2014/main" id="{A81970EB-E356-9143-BA0B-A32ACF2264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51529" y="2750750"/>
            <a:ext cx="1399147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5" name="Marcador de texto 7">
            <a:extLst>
              <a:ext uri="{FF2B5EF4-FFF2-40B4-BE49-F238E27FC236}">
                <a16:creationId xmlns:a16="http://schemas.microsoft.com/office/drawing/2014/main" id="{CBB12395-7669-B540-A483-15E3C0663A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5008" y="3613260"/>
            <a:ext cx="2401643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86" name="Conector recto 74">
            <a:extLst>
              <a:ext uri="{FF2B5EF4-FFF2-40B4-BE49-F238E27FC236}">
                <a16:creationId xmlns:a16="http://schemas.microsoft.com/office/drawing/2014/main" id="{F48F5271-2008-8D47-8756-E000ADACC1E6}"/>
              </a:ext>
            </a:extLst>
          </p:cNvPr>
          <p:cNvSpPr/>
          <p:nvPr userDrawn="1"/>
        </p:nvSpPr>
        <p:spPr>
          <a:xfrm flipH="1">
            <a:off x="3415008" y="3340780"/>
            <a:ext cx="2404800" cy="0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87" name="Marcador de texto 7">
            <a:extLst>
              <a:ext uri="{FF2B5EF4-FFF2-40B4-BE49-F238E27FC236}">
                <a16:creationId xmlns:a16="http://schemas.microsoft.com/office/drawing/2014/main" id="{A9A75FA4-4920-B749-9B33-9A58CCB53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69571" y="2750750"/>
            <a:ext cx="1340162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0A11C487-0115-5F4D-9992-15BD35A4BC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sp>
        <p:nvSpPr>
          <p:cNvPr id="42" name="Marcador de posición de imagen 3">
            <a:extLst>
              <a:ext uri="{FF2B5EF4-FFF2-40B4-BE49-F238E27FC236}">
                <a16:creationId xmlns:a16="http://schemas.microsoft.com/office/drawing/2014/main" id="{0E8ACCB5-DDCA-6E42-A59F-C19DA54AD9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51220" y="2552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3" name="Marcador de posición de imagen 3">
            <a:extLst>
              <a:ext uri="{FF2B5EF4-FFF2-40B4-BE49-F238E27FC236}">
                <a16:creationId xmlns:a16="http://schemas.microsoft.com/office/drawing/2014/main" id="{A6B8CBED-9A8C-2E41-87A9-A4B4A73095C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3415008" y="2552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4" name="Marcador de posición de imagen 3">
            <a:extLst>
              <a:ext uri="{FF2B5EF4-FFF2-40B4-BE49-F238E27FC236}">
                <a16:creationId xmlns:a16="http://schemas.microsoft.com/office/drawing/2014/main" id="{F8CBC851-6BCB-564E-829F-58E5E2D2ABA4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6385092" y="2552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:a16="http://schemas.microsoft.com/office/drawing/2014/main" id="{34ABF4E0-6CDE-E249-95A2-A7A05A1C8A2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333004" y="2552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2EB6015A-54E5-CE40-8931-D2744599943C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Marcador de texto 7">
            <a:extLst>
              <a:ext uri="{FF2B5EF4-FFF2-40B4-BE49-F238E27FC236}">
                <a16:creationId xmlns:a16="http://schemas.microsoft.com/office/drawing/2014/main" id="{9F9272ED-A3F0-4441-B27D-226E549374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26" name="Marcador de número de diapositiva 1">
            <a:extLst>
              <a:ext uri="{FF2B5EF4-FFF2-40B4-BE49-F238E27FC236}">
                <a16:creationId xmlns:a16="http://schemas.microsoft.com/office/drawing/2014/main" id="{291A3B44-4A83-A74C-8554-067ABD362AD5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218805141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366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pos="179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992DC3DA-CCAD-CF46-BC96-16FE1F9283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10FBBCFE-48E0-C041-983C-E33D245A0952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2FC2324D-E48A-AA4F-9B9C-ACA71D2E89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id="{29A3CDD8-DB45-3C4B-9DEB-D4CFB5DFC35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A9850EF-AAA8-8A42-93DD-9D791D527C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15349"/>
            <a:ext cx="11365880" cy="4735858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tx2"/>
                </a:solidFill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tx2"/>
                </a:solidFill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tx2"/>
                </a:solidFill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Párrafo so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2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3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4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  <a:p>
            <a:pPr lvl="4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08783571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ulo, sub titulo y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992DC3DA-CCAD-CF46-BC96-16FE1F9283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10FBBCFE-48E0-C041-983C-E33D245A0952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2FC2324D-E48A-AA4F-9B9C-ACA71D2E89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id="{A5BC562B-8075-3C4C-A449-F53BCE586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378766968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ulo, sub titulo y logo fondo ver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992DC3DA-CCAD-CF46-BC96-16FE1F9283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10FBBCFE-48E0-C041-983C-E33D245A0952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2FC2324D-E48A-AA4F-9B9C-ACA71D2E89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id="{025838F8-F232-B04E-AF29-81617EA89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946702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63158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F257A930-1B12-7B4A-B402-734BCB48B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>
            <a:extLst>
              <a:ext uri="{FF2B5EF4-FFF2-40B4-BE49-F238E27FC236}">
                <a16:creationId xmlns:a16="http://schemas.microsoft.com/office/drawing/2014/main" id="{43C07928-B23C-C049-8D57-638AEAE25D0A}"/>
              </a:ext>
            </a:extLst>
          </p:cNvPr>
          <p:cNvSpPr/>
          <p:nvPr userDrawn="1"/>
        </p:nvSpPr>
        <p:spPr>
          <a:xfrm>
            <a:off x="9215252" y="2327563"/>
            <a:ext cx="2520000" cy="34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20" name="Conector recto 74">
            <a:extLst>
              <a:ext uri="{FF2B5EF4-FFF2-40B4-BE49-F238E27FC236}">
                <a16:creationId xmlns:a16="http://schemas.microsoft.com/office/drawing/2014/main" id="{D53F8420-F737-A142-8C02-3370D732A139}"/>
              </a:ext>
            </a:extLst>
          </p:cNvPr>
          <p:cNvSpPr/>
          <p:nvPr userDrawn="1"/>
        </p:nvSpPr>
        <p:spPr>
          <a:xfrm flipH="1">
            <a:off x="2901999" y="2346859"/>
            <a:ext cx="1" cy="340070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21" name="Conector recto 74">
            <a:extLst>
              <a:ext uri="{FF2B5EF4-FFF2-40B4-BE49-F238E27FC236}">
                <a16:creationId xmlns:a16="http://schemas.microsoft.com/office/drawing/2014/main" id="{D6D37DC4-4EA6-9544-8D43-FDA98A0A4224}"/>
              </a:ext>
            </a:extLst>
          </p:cNvPr>
          <p:cNvSpPr/>
          <p:nvPr userDrawn="1"/>
        </p:nvSpPr>
        <p:spPr>
          <a:xfrm flipH="1">
            <a:off x="5632357" y="2346859"/>
            <a:ext cx="1" cy="340070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117333"/>
            <a:ext cx="1992996" cy="5486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665997"/>
            <a:ext cx="1992996" cy="20815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117333"/>
            <a:ext cx="1992996" cy="5486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CL" sz="1600" b="1" dirty="0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654541"/>
            <a:ext cx="1992996" cy="20930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117333"/>
            <a:ext cx="1992996" cy="5486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s-CL" sz="1600" b="1" dirty="0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665997"/>
            <a:ext cx="1992996" cy="20815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0" name="Marcador de texto 7">
            <a:extLst>
              <a:ext uri="{FF2B5EF4-FFF2-40B4-BE49-F238E27FC236}">
                <a16:creationId xmlns:a16="http://schemas.microsoft.com/office/drawing/2014/main" id="{CBFD6792-9E13-7E48-9CEA-7FCD45D83A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83421" y="2493112"/>
            <a:ext cx="2385229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1" name="Marcador de texto 7">
            <a:extLst>
              <a:ext uri="{FF2B5EF4-FFF2-40B4-BE49-F238E27FC236}">
                <a16:creationId xmlns:a16="http://schemas.microsoft.com/office/drawing/2014/main" id="{108DB484-1780-D345-A1D5-E256BC38977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83421" y="3020651"/>
            <a:ext cx="2385229" cy="2619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183305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:a16="http://schemas.microsoft.com/office/drawing/2014/main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937631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:a16="http://schemas.microsoft.com/office/drawing/2014/main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54170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6" name="Línea">
            <a:extLst>
              <a:ext uri="{FF2B5EF4-FFF2-40B4-BE49-F238E27FC236}">
                <a16:creationId xmlns:a16="http://schemas.microsoft.com/office/drawing/2014/main" id="{2444CEDB-830B-134F-A2D4-D6873E299AB1}"/>
              </a:ext>
            </a:extLst>
          </p:cNvPr>
          <p:cNvSpPr/>
          <p:nvPr userDrawn="1"/>
        </p:nvSpPr>
        <p:spPr>
          <a:xfrm>
            <a:off x="8511505" y="2318308"/>
            <a:ext cx="280081" cy="34292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400" tIns="25400" rIns="25400" bIns="25400" anchor="ctr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id="{DB36B937-29C9-2947-86D7-0F04B96A15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id="{5B8BBE65-34C8-6645-AEB0-45E511C9BE9E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426983E7-5647-B149-9C90-D5E24D1144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:a16="http://schemas.microsoft.com/office/drawing/2014/main" id="{34BED3D6-BA71-8C4F-B456-2184D1F7C755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FF04CA93-3E1F-8E43-9711-E7B6B957A42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7" y="6467632"/>
            <a:ext cx="8376505" cy="371826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Arial 9</a:t>
            </a:r>
          </a:p>
        </p:txBody>
      </p:sp>
    </p:spTree>
    <p:extLst>
      <p:ext uri="{BB962C8B-B14F-4D97-AF65-F5344CB8AC3E}">
        <p14:creationId xmlns:p14="http://schemas.microsoft.com/office/powerpoint/2010/main" val="385369450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6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con foto/lámina comparativa foto/ico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21" name="Conector recto 74">
            <a:extLst>
              <a:ext uri="{FF2B5EF4-FFF2-40B4-BE49-F238E27FC236}">
                <a16:creationId xmlns:a16="http://schemas.microsoft.com/office/drawing/2014/main" id="{D6D37DC4-4EA6-9544-8D43-FDA98A0A4224}"/>
              </a:ext>
            </a:extLst>
          </p:cNvPr>
          <p:cNvSpPr/>
          <p:nvPr userDrawn="1"/>
        </p:nvSpPr>
        <p:spPr>
          <a:xfrm>
            <a:off x="5760868" y="1888942"/>
            <a:ext cx="0" cy="4358665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232" y="3984492"/>
            <a:ext cx="1992996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48706" y="3984492"/>
            <a:ext cx="1992996" cy="2215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26914" y="3984492"/>
            <a:ext cx="1992996" cy="22154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>
            <a:off x="2975524" y="1888942"/>
            <a:ext cx="0" cy="4358665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8232" y="3424296"/>
            <a:ext cx="1992996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5" name="Marcador de texto 7">
            <a:extLst>
              <a:ext uri="{FF2B5EF4-FFF2-40B4-BE49-F238E27FC236}">
                <a16:creationId xmlns:a16="http://schemas.microsoft.com/office/drawing/2014/main" id="{02CB12F5-EDD8-E346-9DE9-3A19237D42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8706" y="3424296"/>
            <a:ext cx="1992996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6" name="Marcador de texto 7">
            <a:extLst>
              <a:ext uri="{FF2B5EF4-FFF2-40B4-BE49-F238E27FC236}">
                <a16:creationId xmlns:a16="http://schemas.microsoft.com/office/drawing/2014/main" id="{5D9451A5-0C90-6A4B-9663-51CDE3D8B0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26914" y="3424296"/>
            <a:ext cx="1992996" cy="468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</a:t>
            </a:r>
          </a:p>
          <a:p>
            <a:pPr lvl="0"/>
            <a:r>
              <a:rPr lang="es-ES" dirty="0"/>
              <a:t>Bold 16</a:t>
            </a:r>
            <a:endParaRPr lang="es-CL" dirty="0"/>
          </a:p>
        </p:txBody>
      </p:sp>
      <p:sp>
        <p:nvSpPr>
          <p:cNvPr id="57" name="Marcador de posición de imagen 2">
            <a:extLst>
              <a:ext uri="{FF2B5EF4-FFF2-40B4-BE49-F238E27FC236}">
                <a16:creationId xmlns:a16="http://schemas.microsoft.com/office/drawing/2014/main" id="{D3DF0AC5-CFA7-6341-8507-840E9C986E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8232" y="1889084"/>
            <a:ext cx="1619250" cy="12136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8" name="Marcador de posición de imagen 2">
            <a:extLst>
              <a:ext uri="{FF2B5EF4-FFF2-40B4-BE49-F238E27FC236}">
                <a16:creationId xmlns:a16="http://schemas.microsoft.com/office/drawing/2014/main" id="{17B499AE-C5B2-794D-8551-F1F602A885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248706" y="1889084"/>
            <a:ext cx="1619250" cy="12136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9" name="Marcador de posición de imagen 2">
            <a:extLst>
              <a:ext uri="{FF2B5EF4-FFF2-40B4-BE49-F238E27FC236}">
                <a16:creationId xmlns:a16="http://schemas.microsoft.com/office/drawing/2014/main" id="{DE550592-7ED0-A544-9D4F-0101680080E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26914" y="1889084"/>
            <a:ext cx="1619250" cy="12136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2C43F09E-A773-E547-95D6-CF8477D8072A}"/>
              </a:ext>
            </a:extLst>
          </p:cNvPr>
          <p:cNvSpPr>
            <a:spLocks/>
          </p:cNvSpPr>
          <p:nvPr userDrawn="1"/>
        </p:nvSpPr>
        <p:spPr>
          <a:xfrm>
            <a:off x="9181975" y="1899775"/>
            <a:ext cx="2556000" cy="428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id="{ADDB372D-3C0A-9843-8A24-4C447B4FFFC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73147" y="2033486"/>
            <a:ext cx="238270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1" name="Marcador de texto 7">
            <a:extLst>
              <a:ext uri="{FF2B5EF4-FFF2-40B4-BE49-F238E27FC236}">
                <a16:creationId xmlns:a16="http://schemas.microsoft.com/office/drawing/2014/main" id="{4F4164F6-0B99-AC40-82D2-06A1C9776C2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73147" y="2623930"/>
            <a:ext cx="2382703" cy="34455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2" name="Marcador de texto 4">
            <a:extLst>
              <a:ext uri="{FF2B5EF4-FFF2-40B4-BE49-F238E27FC236}">
                <a16:creationId xmlns:a16="http://schemas.microsoft.com/office/drawing/2014/main" id="{63743F2B-A5AE-3F4C-B767-B2E9EB7AA46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7" y="6467632"/>
            <a:ext cx="8376505" cy="371826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Arial 9</a:t>
            </a:r>
          </a:p>
        </p:txBody>
      </p:sp>
      <p:sp>
        <p:nvSpPr>
          <p:cNvPr id="24" name="Línea">
            <a:extLst>
              <a:ext uri="{FF2B5EF4-FFF2-40B4-BE49-F238E27FC236}">
                <a16:creationId xmlns:a16="http://schemas.microsoft.com/office/drawing/2014/main" id="{6381C55E-71FA-7248-BF78-2A722399DBD5}"/>
              </a:ext>
            </a:extLst>
          </p:cNvPr>
          <p:cNvSpPr/>
          <p:nvPr userDrawn="1"/>
        </p:nvSpPr>
        <p:spPr>
          <a:xfrm>
            <a:off x="8511505" y="1899776"/>
            <a:ext cx="280081" cy="43001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400" tIns="25400" rIns="25400" bIns="25400" anchor="ctr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C3CBDD02-B9C3-BC4D-B282-0BC98DDF6C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CCEB4C67-BB21-4E4F-907A-F15D1B4D3FA9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5" name="Marcador de texto 7">
            <a:extLst>
              <a:ext uri="{FF2B5EF4-FFF2-40B4-BE49-F238E27FC236}">
                <a16:creationId xmlns:a16="http://schemas.microsoft.com/office/drawing/2014/main" id="{CDB5D4A7-AEBC-4F4C-A3F5-26FDC42C6C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:a16="http://schemas.microsoft.com/office/drawing/2014/main" id="{5BAD7F1D-419D-FF40-B4CE-455DD130ED72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1920446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06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orient="horz" pos="1185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135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EC41E5-806D-2E4E-AAA0-2EC2EC18F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>
            <a:extLst>
              <a:ext uri="{FF2B5EF4-FFF2-40B4-BE49-F238E27FC236}">
                <a16:creationId xmlns:a16="http://schemas.microsoft.com/office/drawing/2014/main" id="{2911EB5D-1BA9-2A4A-845D-FB2FAE605904}"/>
              </a:ext>
            </a:extLst>
          </p:cNvPr>
          <p:cNvSpPr/>
          <p:nvPr userDrawn="1"/>
        </p:nvSpPr>
        <p:spPr>
          <a:xfrm>
            <a:off x="9217975" y="2349500"/>
            <a:ext cx="2520000" cy="334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47548" y="2386495"/>
            <a:ext cx="5352116" cy="882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3" name="Conector recto 74">
            <a:extLst>
              <a:ext uri="{FF2B5EF4-FFF2-40B4-BE49-F238E27FC236}">
                <a16:creationId xmlns:a16="http://schemas.microsoft.com/office/drawing/2014/main" id="{5BEE3994-12D6-1249-9576-D8A33A059B6C}"/>
              </a:ext>
            </a:extLst>
          </p:cNvPr>
          <p:cNvSpPr/>
          <p:nvPr userDrawn="1"/>
        </p:nvSpPr>
        <p:spPr>
          <a:xfrm>
            <a:off x="1933377" y="2379377"/>
            <a:ext cx="0" cy="88853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653" y="2587447"/>
            <a:ext cx="1268757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id="{50306EC6-0DBE-CA43-A0DD-EF256EA8F1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47548" y="3602232"/>
            <a:ext cx="5352116" cy="882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6" name="Conector recto 74">
            <a:extLst>
              <a:ext uri="{FF2B5EF4-FFF2-40B4-BE49-F238E27FC236}">
                <a16:creationId xmlns:a16="http://schemas.microsoft.com/office/drawing/2014/main" id="{66BC8E95-AD01-7340-AEF4-FA9267A7B96C}"/>
              </a:ext>
            </a:extLst>
          </p:cNvPr>
          <p:cNvSpPr/>
          <p:nvPr userDrawn="1"/>
        </p:nvSpPr>
        <p:spPr>
          <a:xfrm>
            <a:off x="1933377" y="3595114"/>
            <a:ext cx="0" cy="88853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id="{D0EF8C13-D250-3B48-93E5-9C3D6F1E4C9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653" y="3803184"/>
            <a:ext cx="1268757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id="{0B4D78F6-630E-0648-BAC8-17387BDBB3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347548" y="4814980"/>
            <a:ext cx="5352116" cy="882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9" name="Conector recto 74">
            <a:extLst>
              <a:ext uri="{FF2B5EF4-FFF2-40B4-BE49-F238E27FC236}">
                <a16:creationId xmlns:a16="http://schemas.microsoft.com/office/drawing/2014/main" id="{0F490E9C-14C0-9941-B731-8CF1EB77CFB0}"/>
              </a:ext>
            </a:extLst>
          </p:cNvPr>
          <p:cNvSpPr/>
          <p:nvPr userDrawn="1"/>
        </p:nvSpPr>
        <p:spPr>
          <a:xfrm>
            <a:off x="1933377" y="4807862"/>
            <a:ext cx="0" cy="888534"/>
          </a:xfrm>
          <a:prstGeom prst="line">
            <a:avLst/>
          </a:prstGeom>
          <a:ln w="12700">
            <a:solidFill>
              <a:srgbClr val="79B025"/>
            </a:solidFill>
            <a:prstDash val="sysDot"/>
            <a:miter lim="400000"/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id="{EF047069-CE19-1842-BAD4-C26C6CDE05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9653" y="5015932"/>
            <a:ext cx="1268757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02342014-A163-7C4D-8310-87B690C18D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85022" y="2501440"/>
            <a:ext cx="238270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:a16="http://schemas.microsoft.com/office/drawing/2014/main" id="{89A58E29-5BE1-E74F-82E9-E7C5220EE4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85022" y="3011595"/>
            <a:ext cx="2382703" cy="25675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23" name="Línea">
            <a:extLst>
              <a:ext uri="{FF2B5EF4-FFF2-40B4-BE49-F238E27FC236}">
                <a16:creationId xmlns:a16="http://schemas.microsoft.com/office/drawing/2014/main" id="{CF1F37D8-7FD7-DB46-90C0-999038641338}"/>
              </a:ext>
            </a:extLst>
          </p:cNvPr>
          <p:cNvSpPr/>
          <p:nvPr userDrawn="1"/>
        </p:nvSpPr>
        <p:spPr>
          <a:xfrm>
            <a:off x="8318779" y="2345408"/>
            <a:ext cx="280081" cy="3348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400" tIns="25400" rIns="25400" bIns="25400" anchor="ctr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9739E1CB-BE8A-BF40-BD70-3EB390C1D9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id="{1EEDAF2C-3BB9-5840-BE01-60F79F9B9BC8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0FD8CCF2-DC32-1D41-B6C5-E45CC648DE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31" name="Marcador de número de diapositiva 1">
            <a:extLst>
              <a:ext uri="{FF2B5EF4-FFF2-40B4-BE49-F238E27FC236}">
                <a16:creationId xmlns:a16="http://schemas.microsoft.com/office/drawing/2014/main" id="{B5FADFF0-C5A7-6C44-B11D-F86CE0FE0063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60E0C8B1-ADD8-A447-AB23-23454D3FFBF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7" y="6467632"/>
            <a:ext cx="8376505" cy="371826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Arial 9</a:t>
            </a:r>
          </a:p>
        </p:txBody>
      </p:sp>
    </p:spTree>
    <p:extLst>
      <p:ext uri="{BB962C8B-B14F-4D97-AF65-F5344CB8AC3E}">
        <p14:creationId xmlns:p14="http://schemas.microsoft.com/office/powerpoint/2010/main" val="170289337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480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orient="horz" pos="358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5531200A-67B4-814A-95C6-ABA059808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1636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5531200A-67B4-814A-95C6-ABA059808C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>
            <a:extLst>
              <a:ext uri="{FF2B5EF4-FFF2-40B4-BE49-F238E27FC236}">
                <a16:creationId xmlns:a16="http://schemas.microsoft.com/office/drawing/2014/main" id="{27BAF180-D9D1-0C4D-852E-CDC458C6A5AD}"/>
              </a:ext>
            </a:extLst>
          </p:cNvPr>
          <p:cNvSpPr/>
          <p:nvPr userDrawn="1"/>
        </p:nvSpPr>
        <p:spPr>
          <a:xfrm>
            <a:off x="9214873" y="2134630"/>
            <a:ext cx="2520000" cy="367085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22" name="Línea">
            <a:extLst>
              <a:ext uri="{FF2B5EF4-FFF2-40B4-BE49-F238E27FC236}">
                <a16:creationId xmlns:a16="http://schemas.microsoft.com/office/drawing/2014/main" id="{92245F91-D7B9-BE4A-83D9-E37F606258CA}"/>
              </a:ext>
            </a:extLst>
          </p:cNvPr>
          <p:cNvSpPr/>
          <p:nvPr userDrawn="1"/>
        </p:nvSpPr>
        <p:spPr>
          <a:xfrm>
            <a:off x="8615926" y="2134630"/>
            <a:ext cx="280081" cy="3672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400" tIns="25400" rIns="25400" bIns="25400" anchor="ctr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05196" y="2134630"/>
            <a:ext cx="4033335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17301" y="2457416"/>
            <a:ext cx="1279427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4" name="Marcador de posición de imagen 2">
            <a:extLst>
              <a:ext uri="{FF2B5EF4-FFF2-40B4-BE49-F238E27FC236}">
                <a16:creationId xmlns:a16="http://schemas.microsoft.com/office/drawing/2014/main" id="{01391A15-7249-EE4F-A688-E4680B66FA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6902" y="2134630"/>
            <a:ext cx="1475347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 para incorporar una imagen</a:t>
            </a:r>
          </a:p>
        </p:txBody>
      </p: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id="{CBC1B177-B50F-5E40-B15D-0EC5384F83A6}"/>
              </a:ext>
            </a:extLst>
          </p:cNvPr>
          <p:cNvCxnSpPr>
            <a:cxnSpLocks/>
          </p:cNvCxnSpPr>
          <p:nvPr userDrawn="1"/>
        </p:nvCxnSpPr>
        <p:spPr>
          <a:xfrm>
            <a:off x="3691025" y="2134630"/>
            <a:ext cx="0" cy="10800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5D64D211-8E0C-C94B-88E7-E1C991DD3E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05196" y="3429039"/>
            <a:ext cx="4033335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17CE4B52-3BE3-2F44-84B5-ACEA2C0D72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217301" y="3704325"/>
            <a:ext cx="1279427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:a16="http://schemas.microsoft.com/office/drawing/2014/main" id="{0ECC6833-D921-F248-810B-5EEE0E76CE1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56902" y="3429039"/>
            <a:ext cx="1475347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 para incorporar una imagen</a:t>
            </a:r>
          </a:p>
        </p:txBody>
      </p:sp>
      <p:cxnSp>
        <p:nvCxnSpPr>
          <p:cNvPr id="40" name="Conector recto 39">
            <a:extLst>
              <a:ext uri="{FF2B5EF4-FFF2-40B4-BE49-F238E27FC236}">
                <a16:creationId xmlns:a16="http://schemas.microsoft.com/office/drawing/2014/main" id="{94711B5F-DD02-6648-B446-B9333D6370A5}"/>
              </a:ext>
            </a:extLst>
          </p:cNvPr>
          <p:cNvCxnSpPr>
            <a:cxnSpLocks/>
          </p:cNvCxnSpPr>
          <p:nvPr userDrawn="1"/>
        </p:nvCxnSpPr>
        <p:spPr>
          <a:xfrm>
            <a:off x="3691025" y="3429039"/>
            <a:ext cx="0" cy="10800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05196" y="4722386"/>
            <a:ext cx="4033335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:a16="http://schemas.microsoft.com/office/drawing/2014/main" id="{2A601485-B11B-7B46-9F04-9A94F7E41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17301" y="5045172"/>
            <a:ext cx="1279427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3" name="Marcador de posición de imagen 2">
            <a:extLst>
              <a:ext uri="{FF2B5EF4-FFF2-40B4-BE49-F238E27FC236}">
                <a16:creationId xmlns:a16="http://schemas.microsoft.com/office/drawing/2014/main" id="{AEA8A8BB-FA5E-874E-AAB9-F559CF5B08D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56902" y="4722386"/>
            <a:ext cx="1475347" cy="10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 dirty="0"/>
              <a:t>Doble clic para incorporar una imagen</a:t>
            </a:r>
          </a:p>
        </p:txBody>
      </p: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E4F06A31-FE62-FA43-82D4-43BC324386A3}"/>
              </a:ext>
            </a:extLst>
          </p:cNvPr>
          <p:cNvCxnSpPr>
            <a:cxnSpLocks/>
          </p:cNvCxnSpPr>
          <p:nvPr userDrawn="1"/>
        </p:nvCxnSpPr>
        <p:spPr>
          <a:xfrm>
            <a:off x="3691025" y="4722386"/>
            <a:ext cx="0" cy="108000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86474526-7DF2-164F-B33E-6141E63E9B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8274" y="2205762"/>
            <a:ext cx="238270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D3D12324-E365-794E-9EF0-965E7CA66F2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8274" y="2733300"/>
            <a:ext cx="2382703" cy="29668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:a16="http://schemas.microsoft.com/office/drawing/2014/main" id="{B06E05AD-5D67-E74F-A7CA-AED62AC56C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id="{38B57DDD-EAB1-DA44-BD2F-DD6D258E6A88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3" name="Marcador de texto 7">
            <a:extLst>
              <a:ext uri="{FF2B5EF4-FFF2-40B4-BE49-F238E27FC236}">
                <a16:creationId xmlns:a16="http://schemas.microsoft.com/office/drawing/2014/main" id="{31011159-CF32-2246-9CD0-112FC1F6A4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:a16="http://schemas.microsoft.com/office/drawing/2014/main" id="{7F75FD05-741A-804D-B57C-7FACD50F96E5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5" name="Marcador de texto 4">
            <a:extLst>
              <a:ext uri="{FF2B5EF4-FFF2-40B4-BE49-F238E27FC236}">
                <a16:creationId xmlns:a16="http://schemas.microsoft.com/office/drawing/2014/main" id="{E76C04D3-B791-8A4B-93CE-C192D8CFD66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7" y="6467632"/>
            <a:ext cx="8376505" cy="371826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Arial 9</a:t>
            </a:r>
          </a:p>
        </p:txBody>
      </p:sp>
    </p:spTree>
    <p:extLst>
      <p:ext uri="{BB962C8B-B14F-4D97-AF65-F5344CB8AC3E}">
        <p14:creationId xmlns:p14="http://schemas.microsoft.com/office/powerpoint/2010/main" val="109008726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344" userDrawn="1">
          <p15:clr>
            <a:srgbClr val="FBAE40"/>
          </p15:clr>
        </p15:guide>
        <p15:guide id="2" pos="28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226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0B42D332-2844-E942-96BC-37A626E30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>
            <a:extLst>
              <a:ext uri="{FF2B5EF4-FFF2-40B4-BE49-F238E27FC236}">
                <a16:creationId xmlns:a16="http://schemas.microsoft.com/office/drawing/2014/main" id="{52ED1F8C-1BD3-014F-996B-FFB80867B4C0}"/>
              </a:ext>
            </a:extLst>
          </p:cNvPr>
          <p:cNvSpPr/>
          <p:nvPr userDrawn="1"/>
        </p:nvSpPr>
        <p:spPr>
          <a:xfrm>
            <a:off x="9214872" y="1744734"/>
            <a:ext cx="2520000" cy="432800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id="{41C22BEC-E3DB-B444-918C-AC167E7F1462}"/>
              </a:ext>
            </a:extLst>
          </p:cNvPr>
          <p:cNvCxnSpPr>
            <a:cxnSpLocks/>
          </p:cNvCxnSpPr>
          <p:nvPr userDrawn="1"/>
        </p:nvCxnSpPr>
        <p:spPr>
          <a:xfrm>
            <a:off x="457128" y="3116979"/>
            <a:ext cx="804393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16880" y="2169127"/>
            <a:ext cx="1242719" cy="73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53" name="Marcador de texto 7">
            <a:extLst>
              <a:ext uri="{FF2B5EF4-FFF2-40B4-BE49-F238E27FC236}">
                <a16:creationId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89753" y="2169127"/>
            <a:ext cx="6111310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89752" y="1733847"/>
            <a:ext cx="4087247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55" name="Conector recto 54">
            <a:extLst>
              <a:ext uri="{FF2B5EF4-FFF2-40B4-BE49-F238E27FC236}">
                <a16:creationId xmlns:a16="http://schemas.microsoft.com/office/drawing/2014/main" id="{5880D28B-3A3F-674A-8248-0EF336123F8D}"/>
              </a:ext>
            </a:extLst>
          </p:cNvPr>
          <p:cNvCxnSpPr>
            <a:cxnSpLocks/>
          </p:cNvCxnSpPr>
          <p:nvPr userDrawn="1"/>
        </p:nvCxnSpPr>
        <p:spPr>
          <a:xfrm>
            <a:off x="2389753" y="2042376"/>
            <a:ext cx="6111310" cy="2948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1" name="Marcador de texto 7">
            <a:extLst>
              <a:ext uri="{FF2B5EF4-FFF2-40B4-BE49-F238E27FC236}">
                <a16:creationId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9263" y="2169127"/>
            <a:ext cx="468000" cy="39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cxnSp>
        <p:nvCxnSpPr>
          <p:cNvPr id="70" name="Conector recto 69">
            <a:extLst>
              <a:ext uri="{FF2B5EF4-FFF2-40B4-BE49-F238E27FC236}">
                <a16:creationId xmlns:a16="http://schemas.microsoft.com/office/drawing/2014/main" id="{4F3DCFE7-4201-D24B-8EB4-FA55068862F1}"/>
              </a:ext>
            </a:extLst>
          </p:cNvPr>
          <p:cNvCxnSpPr>
            <a:cxnSpLocks/>
          </p:cNvCxnSpPr>
          <p:nvPr userDrawn="1"/>
        </p:nvCxnSpPr>
        <p:spPr>
          <a:xfrm>
            <a:off x="457128" y="4688604"/>
            <a:ext cx="804393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2" name="Marcador de texto 7">
            <a:extLst>
              <a:ext uri="{FF2B5EF4-FFF2-40B4-BE49-F238E27FC236}">
                <a16:creationId xmlns:a16="http://schemas.microsoft.com/office/drawing/2014/main" id="{2DFAEEC3-0D14-C64D-8AC4-8560CCC11D5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16880" y="3740751"/>
            <a:ext cx="1242719" cy="73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89753" y="3740751"/>
            <a:ext cx="6111310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89752" y="3305472"/>
            <a:ext cx="4087247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75" name="Conector recto 74">
            <a:extLst>
              <a:ext uri="{FF2B5EF4-FFF2-40B4-BE49-F238E27FC236}">
                <a16:creationId xmlns:a16="http://schemas.microsoft.com/office/drawing/2014/main" id="{0DA84D03-C754-C246-AC09-A3CAE3A0D217}"/>
              </a:ext>
            </a:extLst>
          </p:cNvPr>
          <p:cNvCxnSpPr>
            <a:cxnSpLocks/>
          </p:cNvCxnSpPr>
          <p:nvPr userDrawn="1"/>
        </p:nvCxnSpPr>
        <p:spPr>
          <a:xfrm>
            <a:off x="2389753" y="3614001"/>
            <a:ext cx="6111310" cy="2948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9" name="Marcador de texto 7">
            <a:extLst>
              <a:ext uri="{FF2B5EF4-FFF2-40B4-BE49-F238E27FC236}">
                <a16:creationId xmlns:a16="http://schemas.microsoft.com/office/drawing/2014/main" id="{5F033970-6C8B-0E48-A2EF-5615634E1F3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49263" y="3740751"/>
            <a:ext cx="468000" cy="39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81" name="Marcador de texto 7">
            <a:extLst>
              <a:ext uri="{FF2B5EF4-FFF2-40B4-BE49-F238E27FC236}">
                <a16:creationId xmlns:a16="http://schemas.microsoft.com/office/drawing/2014/main" id="{D63CF391-BF7F-E946-8EBB-B83AE538B4E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16880" y="5313411"/>
            <a:ext cx="1242719" cy="73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89753" y="5313411"/>
            <a:ext cx="6111310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83" name="Marcador de texto 7">
            <a:extLst>
              <a:ext uri="{FF2B5EF4-FFF2-40B4-BE49-F238E27FC236}">
                <a16:creationId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89752" y="4878132"/>
            <a:ext cx="4087247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84" name="Conector recto 83">
            <a:extLst>
              <a:ext uri="{FF2B5EF4-FFF2-40B4-BE49-F238E27FC236}">
                <a16:creationId xmlns:a16="http://schemas.microsoft.com/office/drawing/2014/main" id="{075E9141-63D8-A545-AC28-243D934CB544}"/>
              </a:ext>
            </a:extLst>
          </p:cNvPr>
          <p:cNvCxnSpPr>
            <a:cxnSpLocks/>
          </p:cNvCxnSpPr>
          <p:nvPr userDrawn="1"/>
        </p:nvCxnSpPr>
        <p:spPr>
          <a:xfrm>
            <a:off x="2389753" y="5186661"/>
            <a:ext cx="6111310" cy="2948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8" name="Marcador de texto 7">
            <a:extLst>
              <a:ext uri="{FF2B5EF4-FFF2-40B4-BE49-F238E27FC236}">
                <a16:creationId xmlns:a16="http://schemas.microsoft.com/office/drawing/2014/main" id="{B99DB37B-609E-1B46-AF58-881DFC2469E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49263" y="5313411"/>
            <a:ext cx="468000" cy="39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8668C0C2-6225-9D4F-ABD5-08A2EAB967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8274" y="1932630"/>
            <a:ext cx="2382703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FE6A9022-71A7-0D4D-94F7-2B454E9F5A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98274" y="2507669"/>
            <a:ext cx="2382703" cy="34537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31" name="Línea">
            <a:extLst>
              <a:ext uri="{FF2B5EF4-FFF2-40B4-BE49-F238E27FC236}">
                <a16:creationId xmlns:a16="http://schemas.microsoft.com/office/drawing/2014/main" id="{E4A7219B-443C-494D-9076-3FC55AAAD0AF}"/>
              </a:ext>
            </a:extLst>
          </p:cNvPr>
          <p:cNvSpPr/>
          <p:nvPr userDrawn="1"/>
        </p:nvSpPr>
        <p:spPr>
          <a:xfrm>
            <a:off x="8734790" y="1744734"/>
            <a:ext cx="280081" cy="43221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11" y="0"/>
                </a:moveTo>
                <a:lnTo>
                  <a:pt x="21600" y="10870"/>
                </a:lnTo>
                <a:lnTo>
                  <a:pt x="0" y="21600"/>
                </a:lnTo>
              </a:path>
            </a:pathLst>
          </a:custGeom>
          <a:ln w="114300">
            <a:solidFill>
              <a:schemeClr val="accent3">
                <a:lumMod val="40000"/>
                <a:lumOff val="60000"/>
              </a:schemeClr>
            </a:solidFill>
            <a:prstDash val="solid"/>
            <a:miter lim="400000"/>
          </a:ln>
        </p:spPr>
        <p:txBody>
          <a:bodyPr lIns="25400" tIns="25400" rIns="25400" bIns="25400" anchor="ctr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35" name="Marcador de texto 7">
            <a:extLst>
              <a:ext uri="{FF2B5EF4-FFF2-40B4-BE49-F238E27FC236}">
                <a16:creationId xmlns:a16="http://schemas.microsoft.com/office/drawing/2014/main" id="{90021092-5A55-D142-B53C-75F1CAED1B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40" name="Conector recto 39">
            <a:extLst>
              <a:ext uri="{FF2B5EF4-FFF2-40B4-BE49-F238E27FC236}">
                <a16:creationId xmlns:a16="http://schemas.microsoft.com/office/drawing/2014/main" id="{86E86363-FC33-F547-93FA-7F958D055AD2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87ABB9E2-430C-EA45-84E4-5F473C56A4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32" name="Marcador de número de diapositiva 1">
            <a:extLst>
              <a:ext uri="{FF2B5EF4-FFF2-40B4-BE49-F238E27FC236}">
                <a16:creationId xmlns:a16="http://schemas.microsoft.com/office/drawing/2014/main" id="{F52DF2DF-D41E-4045-821A-45609E7A60D8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30" name="Marcador de texto 4">
            <a:extLst>
              <a:ext uri="{FF2B5EF4-FFF2-40B4-BE49-F238E27FC236}">
                <a16:creationId xmlns:a16="http://schemas.microsoft.com/office/drawing/2014/main" id="{62329C95-7E05-4D4F-956B-E2DB7360F6E7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48887" y="6467632"/>
            <a:ext cx="8376505" cy="371826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Arial 9</a:t>
            </a:r>
          </a:p>
        </p:txBody>
      </p:sp>
    </p:spTree>
    <p:extLst>
      <p:ext uri="{BB962C8B-B14F-4D97-AF65-F5344CB8AC3E}">
        <p14:creationId xmlns:p14="http://schemas.microsoft.com/office/powerpoint/2010/main" val="135654239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 userDrawn="1">
          <p15:clr>
            <a:srgbClr val="FBAE40"/>
          </p15:clr>
        </p15:guide>
        <p15:guide id="3" orient="horz" pos="1094" userDrawn="1">
          <p15:clr>
            <a:srgbClr val="FBAE40"/>
          </p15:clr>
        </p15:guide>
        <p15:guide id="4" orient="horz" pos="2546" userDrawn="1">
          <p15:clr>
            <a:srgbClr val="FBAE40"/>
          </p15:clr>
        </p15:guide>
        <p15:guide id="5" orient="horz" pos="3816" userDrawn="1">
          <p15:clr>
            <a:srgbClr val="FBAE40"/>
          </p15:clr>
        </p15:guide>
        <p15:guide id="6" pos="150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rtada con f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fábrica, exterior, moto acuática, edificio&#10;&#10;Descripción generada automáticamente">
            <a:extLst>
              <a:ext uri="{FF2B5EF4-FFF2-40B4-BE49-F238E27FC236}">
                <a16:creationId xmlns:a16="http://schemas.microsoft.com/office/drawing/2014/main" id="{524F57FB-FFCF-3249-91AB-3A11BFDD26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8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9" r="5852"/>
          <a:stretch/>
        </p:blipFill>
        <p:spPr>
          <a:xfrm>
            <a:off x="0" y="0"/>
            <a:ext cx="10452100" cy="6858000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25505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0918982" y="6130615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200" dirty="0" err="1">
                <a:solidFill>
                  <a:srgbClr val="106737"/>
                </a:solidFill>
              </a:rPr>
              <a:t>Asociación</a:t>
            </a:r>
            <a:r>
              <a:rPr sz="1200" dirty="0">
                <a:solidFill>
                  <a:srgbClr val="106737"/>
                </a:solidFill>
              </a:rPr>
              <a:t> </a:t>
            </a:r>
            <a:r>
              <a:rPr sz="1200" dirty="0" err="1">
                <a:solidFill>
                  <a:srgbClr val="106737"/>
                </a:solidFill>
              </a:rPr>
              <a:t>Chilena</a:t>
            </a:r>
            <a:r>
              <a:rPr sz="1200" dirty="0">
                <a:solidFill>
                  <a:srgbClr val="106737"/>
                </a:solidFill>
              </a:rPr>
              <a:t> de </a:t>
            </a:r>
            <a:r>
              <a:rPr sz="1200" dirty="0" err="1">
                <a:solidFill>
                  <a:srgbClr val="106737"/>
                </a:solidFill>
              </a:rPr>
              <a:t>Seguridad</a:t>
            </a:r>
            <a:endParaRPr sz="1200" dirty="0">
              <a:solidFill>
                <a:srgbClr val="106737"/>
              </a:solidFill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938646" y="452438"/>
            <a:ext cx="796227" cy="796227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27" y="6461125"/>
            <a:ext cx="1039662" cy="3968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rgbClr val="106737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7F873C59-711E-8745-86F5-FFE4AD3A68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128" y="1248665"/>
            <a:ext cx="4891050" cy="130036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  <a:highlight>
                  <a:srgbClr val="106737"/>
                </a:highlight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Bold - 3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7695957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 userDrawn="1">
          <p15:clr>
            <a:srgbClr val="FBAE40"/>
          </p15:clr>
        </p15:guide>
        <p15:guide id="3" pos="6726" userDrawn="1">
          <p15:clr>
            <a:srgbClr val="FBAE40"/>
          </p15:clr>
        </p15:guide>
        <p15:guide id="4" orient="horz" pos="4168" userDrawn="1">
          <p15:clr>
            <a:srgbClr val="FBAE40"/>
          </p15:clr>
        </p15:guide>
        <p15:guide id="5" orient="horz" pos="787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 categorías y descripciones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30211" y="2074603"/>
            <a:ext cx="4700706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6" name="Rectángulo">
            <a:extLst>
              <a:ext uri="{FF2B5EF4-FFF2-40B4-BE49-F238E27FC236}">
                <a16:creationId xmlns:a16="http://schemas.microsoft.com/office/drawing/2014/main" id="{6702EB9E-A1FA-954C-A832-0A7EDF090520}"/>
              </a:ext>
            </a:extLst>
          </p:cNvPr>
          <p:cNvSpPr/>
          <p:nvPr userDrawn="1"/>
        </p:nvSpPr>
        <p:spPr>
          <a:xfrm>
            <a:off x="449263" y="2074604"/>
            <a:ext cx="1512816" cy="52841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sp>
        <p:nvSpPr>
          <p:cNvPr id="60" name="Flecha">
            <a:extLst>
              <a:ext uri="{FF2B5EF4-FFF2-40B4-BE49-F238E27FC236}">
                <a16:creationId xmlns:a16="http://schemas.microsoft.com/office/drawing/2014/main" id="{E6B1C39A-FDE2-BC40-B223-3FEEA317B028}"/>
              </a:ext>
            </a:extLst>
          </p:cNvPr>
          <p:cNvSpPr/>
          <p:nvPr userDrawn="1"/>
        </p:nvSpPr>
        <p:spPr>
          <a:xfrm>
            <a:off x="2229912" y="2074604"/>
            <a:ext cx="1820446" cy="52841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tx1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28600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Marcador de texto 7">
            <a:extLst>
              <a:ext uri="{FF2B5EF4-FFF2-40B4-BE49-F238E27FC236}">
                <a16:creationId xmlns:a16="http://schemas.microsoft.com/office/drawing/2014/main" id="{D011EE18-427A-614E-A45B-317571E7F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29911" y="1635136"/>
            <a:ext cx="2037287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E707E9D6-1E74-A645-A036-DEA93AAF701B}"/>
              </a:ext>
            </a:extLst>
          </p:cNvPr>
          <p:cNvCxnSpPr>
            <a:cxnSpLocks/>
          </p:cNvCxnSpPr>
          <p:nvPr userDrawn="1"/>
        </p:nvCxnSpPr>
        <p:spPr>
          <a:xfrm>
            <a:off x="2229912" y="1932778"/>
            <a:ext cx="2037600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3" name="Marcador de texto 7">
            <a:extLst>
              <a:ext uri="{FF2B5EF4-FFF2-40B4-BE49-F238E27FC236}">
                <a16:creationId xmlns:a16="http://schemas.microsoft.com/office/drawing/2014/main" id="{DFCEB778-9AFC-7B4A-9AA5-3D853AD07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30212" y="1635136"/>
            <a:ext cx="3045856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64" name="Conector recto 63">
            <a:extLst>
              <a:ext uri="{FF2B5EF4-FFF2-40B4-BE49-F238E27FC236}">
                <a16:creationId xmlns:a16="http://schemas.microsoft.com/office/drawing/2014/main" id="{516A11E3-D171-8641-AA4E-29E854F66822}"/>
              </a:ext>
            </a:extLst>
          </p:cNvPr>
          <p:cNvCxnSpPr>
            <a:cxnSpLocks/>
          </p:cNvCxnSpPr>
          <p:nvPr userDrawn="1"/>
        </p:nvCxnSpPr>
        <p:spPr>
          <a:xfrm>
            <a:off x="4430211" y="1932778"/>
            <a:ext cx="4700706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D5CE23AB-F9F3-1C45-A483-0BE13E6B14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82166" y="2074603"/>
            <a:ext cx="2354635" cy="73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B692A92-E8A9-7C47-AD18-4649F0D210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2166" y="1635136"/>
            <a:ext cx="2326649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67" name="Conector recto 66">
            <a:extLst>
              <a:ext uri="{FF2B5EF4-FFF2-40B4-BE49-F238E27FC236}">
                <a16:creationId xmlns:a16="http://schemas.microsoft.com/office/drawing/2014/main" id="{4F85BE26-F0D1-724D-91CA-79E04ECAC02F}"/>
              </a:ext>
            </a:extLst>
          </p:cNvPr>
          <p:cNvCxnSpPr>
            <a:cxnSpLocks/>
          </p:cNvCxnSpPr>
          <p:nvPr userDrawn="1"/>
        </p:nvCxnSpPr>
        <p:spPr>
          <a:xfrm>
            <a:off x="9382166" y="1932778"/>
            <a:ext cx="235463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661B3AB6-9A76-2B4A-8C31-709E7AD6C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97147" y="2098915"/>
            <a:ext cx="1602168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6DF521A9-C541-1D4C-879C-AB754287F0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9109" y="2098915"/>
            <a:ext cx="1308004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98" name="Marcador de texto 7">
            <a:extLst>
              <a:ext uri="{FF2B5EF4-FFF2-40B4-BE49-F238E27FC236}">
                <a16:creationId xmlns:a16="http://schemas.microsoft.com/office/drawing/2014/main" id="{2B2B38A7-1E90-DD47-A64D-948E5F2F8B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30211" y="3688250"/>
            <a:ext cx="4700706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9" name="Rectángulo">
            <a:extLst>
              <a:ext uri="{FF2B5EF4-FFF2-40B4-BE49-F238E27FC236}">
                <a16:creationId xmlns:a16="http://schemas.microsoft.com/office/drawing/2014/main" id="{FD1CB431-1820-2345-98EC-38025759AF2F}"/>
              </a:ext>
            </a:extLst>
          </p:cNvPr>
          <p:cNvSpPr/>
          <p:nvPr userDrawn="1"/>
        </p:nvSpPr>
        <p:spPr>
          <a:xfrm>
            <a:off x="449263" y="3688251"/>
            <a:ext cx="1512816" cy="52841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sp>
        <p:nvSpPr>
          <p:cNvPr id="100" name="Flecha">
            <a:extLst>
              <a:ext uri="{FF2B5EF4-FFF2-40B4-BE49-F238E27FC236}">
                <a16:creationId xmlns:a16="http://schemas.microsoft.com/office/drawing/2014/main" id="{51D30188-BA2F-E041-9E44-E9C991347A3B}"/>
              </a:ext>
            </a:extLst>
          </p:cNvPr>
          <p:cNvSpPr/>
          <p:nvPr userDrawn="1"/>
        </p:nvSpPr>
        <p:spPr>
          <a:xfrm>
            <a:off x="2229912" y="3688251"/>
            <a:ext cx="1820446" cy="52841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tx1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28600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BE0B497D-B44F-C24C-8E29-BD07AF0EDD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229911" y="3248783"/>
            <a:ext cx="2037287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id="{FA62AC02-A4CB-9E42-9966-0638ADE12337}"/>
              </a:ext>
            </a:extLst>
          </p:cNvPr>
          <p:cNvCxnSpPr>
            <a:cxnSpLocks/>
          </p:cNvCxnSpPr>
          <p:nvPr userDrawn="1"/>
        </p:nvCxnSpPr>
        <p:spPr>
          <a:xfrm>
            <a:off x="2229912" y="3546425"/>
            <a:ext cx="2037286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3" name="Marcador de texto 7">
            <a:extLst>
              <a:ext uri="{FF2B5EF4-FFF2-40B4-BE49-F238E27FC236}">
                <a16:creationId xmlns:a16="http://schemas.microsoft.com/office/drawing/2014/main" id="{1BD4B4BB-F73A-8C47-9D90-CEC7DD3B41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30212" y="3248783"/>
            <a:ext cx="3045856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4" name="Conector recto 103">
            <a:extLst>
              <a:ext uri="{FF2B5EF4-FFF2-40B4-BE49-F238E27FC236}">
                <a16:creationId xmlns:a16="http://schemas.microsoft.com/office/drawing/2014/main" id="{0C6E77F8-65E8-494D-8105-C0A16B41DC03}"/>
              </a:ext>
            </a:extLst>
          </p:cNvPr>
          <p:cNvCxnSpPr>
            <a:cxnSpLocks/>
          </p:cNvCxnSpPr>
          <p:nvPr userDrawn="1"/>
        </p:nvCxnSpPr>
        <p:spPr>
          <a:xfrm>
            <a:off x="4430211" y="3546425"/>
            <a:ext cx="4700706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5" name="Marcador de texto 7">
            <a:extLst>
              <a:ext uri="{FF2B5EF4-FFF2-40B4-BE49-F238E27FC236}">
                <a16:creationId xmlns:a16="http://schemas.microsoft.com/office/drawing/2014/main" id="{15E1D5D8-969C-0C47-A83E-5B4A68DB30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382166" y="3688250"/>
            <a:ext cx="2354635" cy="73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5DC833E3-6DB7-4D44-8269-BEE4CDA6C7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82166" y="3248783"/>
            <a:ext cx="2326649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7" name="Conector recto 106">
            <a:extLst>
              <a:ext uri="{FF2B5EF4-FFF2-40B4-BE49-F238E27FC236}">
                <a16:creationId xmlns:a16="http://schemas.microsoft.com/office/drawing/2014/main" id="{3DD43F7B-D2ED-9042-8179-8A0FE56FD61C}"/>
              </a:ext>
            </a:extLst>
          </p:cNvPr>
          <p:cNvCxnSpPr>
            <a:cxnSpLocks/>
          </p:cNvCxnSpPr>
          <p:nvPr userDrawn="1"/>
        </p:nvCxnSpPr>
        <p:spPr>
          <a:xfrm>
            <a:off x="9382166" y="3546425"/>
            <a:ext cx="235463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9" name="Marcador de texto 7">
            <a:extLst>
              <a:ext uri="{FF2B5EF4-FFF2-40B4-BE49-F238E27FC236}">
                <a16:creationId xmlns:a16="http://schemas.microsoft.com/office/drawing/2014/main" id="{B64B1C12-DD64-304A-8558-8A688B33972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297147" y="3712562"/>
            <a:ext cx="1602168" cy="4448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10" name="Marcador de texto 7">
            <a:extLst>
              <a:ext uri="{FF2B5EF4-FFF2-40B4-BE49-F238E27FC236}">
                <a16:creationId xmlns:a16="http://schemas.microsoft.com/office/drawing/2014/main" id="{D674B401-78C8-414C-A501-6F69894D59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9109" y="3712562"/>
            <a:ext cx="1308004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11" name="Marcador de texto 7">
            <a:extLst>
              <a:ext uri="{FF2B5EF4-FFF2-40B4-BE49-F238E27FC236}">
                <a16:creationId xmlns:a16="http://schemas.microsoft.com/office/drawing/2014/main" id="{61CDEF0A-D72C-2648-9BF7-D2A388DD586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0211" y="5452834"/>
            <a:ext cx="4700706" cy="736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12" name="Rectángulo">
            <a:extLst>
              <a:ext uri="{FF2B5EF4-FFF2-40B4-BE49-F238E27FC236}">
                <a16:creationId xmlns:a16="http://schemas.microsoft.com/office/drawing/2014/main" id="{82768CE9-E1C4-3D4C-81F7-4374324630CD}"/>
              </a:ext>
            </a:extLst>
          </p:cNvPr>
          <p:cNvSpPr/>
          <p:nvPr userDrawn="1"/>
        </p:nvSpPr>
        <p:spPr>
          <a:xfrm>
            <a:off x="449263" y="5452835"/>
            <a:ext cx="1512816" cy="528415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/>
          </a:p>
        </p:txBody>
      </p:sp>
      <p:sp>
        <p:nvSpPr>
          <p:cNvPr id="113" name="Flecha">
            <a:extLst>
              <a:ext uri="{FF2B5EF4-FFF2-40B4-BE49-F238E27FC236}">
                <a16:creationId xmlns:a16="http://schemas.microsoft.com/office/drawing/2014/main" id="{11B2D5B3-C3A5-5A46-B783-E9DB7956E3FC}"/>
              </a:ext>
            </a:extLst>
          </p:cNvPr>
          <p:cNvSpPr/>
          <p:nvPr userDrawn="1"/>
        </p:nvSpPr>
        <p:spPr>
          <a:xfrm>
            <a:off x="2229912" y="5452835"/>
            <a:ext cx="1820446" cy="528415"/>
          </a:xfrm>
          <a:prstGeom prst="rightArrow">
            <a:avLst>
              <a:gd name="adj1" fmla="val 97321"/>
              <a:gd name="adj2" fmla="val 24371"/>
            </a:avLst>
          </a:prstGeom>
          <a:solidFill>
            <a:schemeClr val="tx1"/>
          </a:solidFill>
          <a:ln w="12700">
            <a:miter lim="400000"/>
          </a:ln>
        </p:spPr>
        <p:txBody>
          <a:bodyPr lIns="0" tIns="0" rIns="0" bIns="0"/>
          <a:lstStyle/>
          <a:p>
            <a:pPr algn="ctr" defTabSz="228600">
              <a:defRPr sz="2400">
                <a:solidFill>
                  <a:srgbClr val="595959"/>
                </a:solidFill>
                <a:latin typeface="Barlow Regular"/>
                <a:ea typeface="Barlow Regular"/>
                <a:cs typeface="Barlow Regular"/>
                <a:sym typeface="Barlow Regular"/>
              </a:defRPr>
            </a:pPr>
            <a:endParaRPr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229911" y="5013367"/>
            <a:ext cx="2037287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15" name="Conector recto 114">
            <a:extLst>
              <a:ext uri="{FF2B5EF4-FFF2-40B4-BE49-F238E27FC236}">
                <a16:creationId xmlns:a16="http://schemas.microsoft.com/office/drawing/2014/main" id="{0312E910-2788-3D48-B437-F32CE1E92226}"/>
              </a:ext>
            </a:extLst>
          </p:cNvPr>
          <p:cNvCxnSpPr>
            <a:cxnSpLocks/>
          </p:cNvCxnSpPr>
          <p:nvPr userDrawn="1"/>
        </p:nvCxnSpPr>
        <p:spPr>
          <a:xfrm>
            <a:off x="2229912" y="5311009"/>
            <a:ext cx="2037600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6" name="Marcador de texto 7">
            <a:extLst>
              <a:ext uri="{FF2B5EF4-FFF2-40B4-BE49-F238E27FC236}">
                <a16:creationId xmlns:a16="http://schemas.microsoft.com/office/drawing/2014/main" id="{F003F3C9-833A-0E40-989F-A1E89E6673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456269" y="5013367"/>
            <a:ext cx="3045856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17" name="Conector recto 116">
            <a:extLst>
              <a:ext uri="{FF2B5EF4-FFF2-40B4-BE49-F238E27FC236}">
                <a16:creationId xmlns:a16="http://schemas.microsoft.com/office/drawing/2014/main" id="{D297A162-44E6-444F-B15F-B309FAC6EC0E}"/>
              </a:ext>
            </a:extLst>
          </p:cNvPr>
          <p:cNvCxnSpPr>
            <a:cxnSpLocks/>
          </p:cNvCxnSpPr>
          <p:nvPr userDrawn="1"/>
        </p:nvCxnSpPr>
        <p:spPr>
          <a:xfrm>
            <a:off x="4444394" y="5311009"/>
            <a:ext cx="4700706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8" name="Marcador de texto 7">
            <a:extLst>
              <a:ext uri="{FF2B5EF4-FFF2-40B4-BE49-F238E27FC236}">
                <a16:creationId xmlns:a16="http://schemas.microsoft.com/office/drawing/2014/main" id="{B40D342A-9934-D247-8506-3C04BA2012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2166" y="5452834"/>
            <a:ext cx="2354400" cy="73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19" name="Marcador de texto 7">
            <a:extLst>
              <a:ext uri="{FF2B5EF4-FFF2-40B4-BE49-F238E27FC236}">
                <a16:creationId xmlns:a16="http://schemas.microsoft.com/office/drawing/2014/main" id="{DDA9AE97-84A3-694E-9294-BAFBA6FBC7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08224" y="5013367"/>
            <a:ext cx="2326649" cy="218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20" name="Conector recto 119">
            <a:extLst>
              <a:ext uri="{FF2B5EF4-FFF2-40B4-BE49-F238E27FC236}">
                <a16:creationId xmlns:a16="http://schemas.microsoft.com/office/drawing/2014/main" id="{52E5032A-A04E-AF48-A2B4-4FCA1E59EB6C}"/>
              </a:ext>
            </a:extLst>
          </p:cNvPr>
          <p:cNvCxnSpPr>
            <a:cxnSpLocks/>
          </p:cNvCxnSpPr>
          <p:nvPr userDrawn="1"/>
        </p:nvCxnSpPr>
        <p:spPr>
          <a:xfrm>
            <a:off x="9408224" y="5311009"/>
            <a:ext cx="2354635" cy="0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2" name="Marcador de texto 7">
            <a:extLst>
              <a:ext uri="{FF2B5EF4-FFF2-40B4-BE49-F238E27FC236}">
                <a16:creationId xmlns:a16="http://schemas.microsoft.com/office/drawing/2014/main" id="{EE07E9DC-AD79-9F43-9AA5-4C2F72B701E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297147" y="5477146"/>
            <a:ext cx="1602168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123" name="Marcador de texto 7">
            <a:extLst>
              <a:ext uri="{FF2B5EF4-FFF2-40B4-BE49-F238E27FC236}">
                <a16:creationId xmlns:a16="http://schemas.microsoft.com/office/drawing/2014/main" id="{9E332173-B33D-EE42-B963-112D06843F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29109" y="5477146"/>
            <a:ext cx="1308004" cy="4702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941FD6F5-0E21-BE43-9581-8AE036A32D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49" name="Conector recto 48">
            <a:extLst>
              <a:ext uri="{FF2B5EF4-FFF2-40B4-BE49-F238E27FC236}">
                <a16:creationId xmlns:a16="http://schemas.microsoft.com/office/drawing/2014/main" id="{1C29EAB7-7D4B-A84C-89B8-1D05BBDB7530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0" name="Marcador de texto 7">
            <a:extLst>
              <a:ext uri="{FF2B5EF4-FFF2-40B4-BE49-F238E27FC236}">
                <a16:creationId xmlns:a16="http://schemas.microsoft.com/office/drawing/2014/main" id="{D38A4427-9308-5647-9E01-473CA18992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48" name="Marcador de número de diapositiva 1">
            <a:extLst>
              <a:ext uri="{FF2B5EF4-FFF2-40B4-BE49-F238E27FC236}">
                <a16:creationId xmlns:a16="http://schemas.microsoft.com/office/drawing/2014/main" id="{4D3AD217-54D1-EB46-9D9E-E3862C7770C2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44" name="Marcador de texto 4">
            <a:extLst>
              <a:ext uri="{FF2B5EF4-FFF2-40B4-BE49-F238E27FC236}">
                <a16:creationId xmlns:a16="http://schemas.microsoft.com/office/drawing/2014/main" id="{FE4010C5-BE7E-E340-A972-AC5AEA11BD4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7" y="6467632"/>
            <a:ext cx="8376505" cy="371826"/>
          </a:xfrm>
          <a:prstGeom prst="rect">
            <a:avLst/>
          </a:prstGeom>
        </p:spPr>
        <p:txBody>
          <a:bodyPr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 dirty="0"/>
              <a:t>Texto primera fuente Arial 9</a:t>
            </a:r>
          </a:p>
          <a:p>
            <a:pPr lvl="0"/>
            <a:r>
              <a:rPr lang="es-CL" dirty="0"/>
              <a:t>Texto secundario fuente Arial 9</a:t>
            </a:r>
          </a:p>
        </p:txBody>
      </p:sp>
    </p:spTree>
    <p:extLst>
      <p:ext uri="{BB962C8B-B14F-4D97-AF65-F5344CB8AC3E}">
        <p14:creationId xmlns:p14="http://schemas.microsoft.com/office/powerpoint/2010/main" val="92846822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a Gantt Think-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9263" y="1620839"/>
            <a:ext cx="11285610" cy="473036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096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192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Insertar gráfico o carta </a:t>
            </a:r>
            <a:r>
              <a:rPr lang="es-ES" dirty="0" err="1"/>
              <a:t>gantt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99DF259F-26EC-6D42-9FFD-76516139E9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6DAD5ADC-3BA7-A04E-AA58-E3B17E4EEA98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BFD5F86E-466F-8F49-B5F9-30B2C6D24C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id="{A92E6723-6A59-0246-B1F5-4E38B0A329F9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311794354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3309" y="2023281"/>
            <a:ext cx="6996190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6938" y="2196212"/>
            <a:ext cx="1257300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3777749" y="1978138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3309" y="3114898"/>
            <a:ext cx="6996190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6938" y="3287829"/>
            <a:ext cx="1257300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3777749" y="3069755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3309" y="4206516"/>
            <a:ext cx="6996190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06938" y="4379447"/>
            <a:ext cx="1257300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3777749" y="416137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83309" y="5298133"/>
            <a:ext cx="6996190" cy="75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06938" y="5471064"/>
            <a:ext cx="1257300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3777749" y="5252991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6" name="Marcador de posición de imagen 3">
            <a:extLst>
              <a:ext uri="{FF2B5EF4-FFF2-40B4-BE49-F238E27FC236}">
                <a16:creationId xmlns:a16="http://schemas.microsoft.com/office/drawing/2014/main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982634" y="207952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:a16="http://schemas.microsoft.com/office/drawing/2014/main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82634" y="3158310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:a16="http://schemas.microsoft.com/office/drawing/2014/main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82634" y="424737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69844" y="5336432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8DE42C5D-9720-9148-A773-2BDE55C68D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95189023-B5F3-FD41-A53A-BE2AB9A3E4B7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8" name="Marcador de texto 7">
            <a:extLst>
              <a:ext uri="{FF2B5EF4-FFF2-40B4-BE49-F238E27FC236}">
                <a16:creationId xmlns:a16="http://schemas.microsoft.com/office/drawing/2014/main" id="{18D514EF-3EEB-824E-99EA-9C2ACAAAAE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:a16="http://schemas.microsoft.com/office/drawing/2014/main" id="{CAFA77C0-C295-3D4D-88B5-DE00CB583A44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43303775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 userDrawn="1">
          <p15:clr>
            <a:srgbClr val="FBAE40"/>
          </p15:clr>
        </p15:guide>
        <p15:guide id="2" pos="28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05184" y="1667640"/>
            <a:ext cx="3614815" cy="75878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8813" y="1840571"/>
            <a:ext cx="1257300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3599624" y="162249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5184" y="2877804"/>
            <a:ext cx="3610800" cy="75878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28813" y="3050735"/>
            <a:ext cx="1257300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3599624" y="2836620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5184" y="4087968"/>
            <a:ext cx="3610800" cy="75878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8813" y="4260899"/>
            <a:ext cx="1257300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3599624" y="405074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05184" y="5298133"/>
            <a:ext cx="3614811" cy="75878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8813" y="5471064"/>
            <a:ext cx="1257300" cy="4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3599624" y="5264866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:a16="http://schemas.microsoft.com/office/drawing/2014/main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404225" y="1667640"/>
            <a:ext cx="3323432" cy="2127802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:a16="http://schemas.microsoft.com/office/drawing/2014/main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404225" y="3930697"/>
            <a:ext cx="3323432" cy="2127802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:a16="http://schemas.microsoft.com/office/drawing/2014/main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04509" y="1723883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04509" y="293149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:a16="http://schemas.microsoft.com/office/drawing/2014/main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4509" y="4139099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:a16="http://schemas.microsoft.com/office/drawing/2014/main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04509" y="5346707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6" name="Marcador de texto 7">
            <a:extLst>
              <a:ext uri="{FF2B5EF4-FFF2-40B4-BE49-F238E27FC236}">
                <a16:creationId xmlns:a16="http://schemas.microsoft.com/office/drawing/2014/main" id="{5C4A2C7A-F397-A246-B0CC-91E0E2BA8E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id="{EF410534-C125-F046-BBFA-B9CD4A714ADF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11933FA1-F239-4040-9A8E-956380D373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27" name="Marcador de número de diapositiva 1">
            <a:extLst>
              <a:ext uri="{FF2B5EF4-FFF2-40B4-BE49-F238E27FC236}">
                <a16:creationId xmlns:a16="http://schemas.microsoft.com/office/drawing/2014/main" id="{16214E9B-558A-2D4A-9C33-FF08516D28F6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395776261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pos="1206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22" y="2965399"/>
            <a:ext cx="1482253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78" name="Marcador de texto 7">
            <a:extLst>
              <a:ext uri="{FF2B5EF4-FFF2-40B4-BE49-F238E27FC236}">
                <a16:creationId xmlns:a16="http://schemas.microsoft.com/office/drawing/2014/main" id="{5FD5CE98-A125-7D47-90B3-6D68BF0AD1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68122" y="2965399"/>
            <a:ext cx="1482253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7357" y="2965399"/>
            <a:ext cx="1482253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86" name="Marcador de texto 7">
            <a:extLst>
              <a:ext uri="{FF2B5EF4-FFF2-40B4-BE49-F238E27FC236}">
                <a16:creationId xmlns:a16="http://schemas.microsoft.com/office/drawing/2014/main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8467" y="2965399"/>
            <a:ext cx="1482253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09" name="Marcador de texto 7">
            <a:extLst>
              <a:ext uri="{FF2B5EF4-FFF2-40B4-BE49-F238E27FC236}">
                <a16:creationId xmlns:a16="http://schemas.microsoft.com/office/drawing/2014/main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3322" y="5074754"/>
            <a:ext cx="1482253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13" name="Marcador de texto 7">
            <a:extLst>
              <a:ext uri="{FF2B5EF4-FFF2-40B4-BE49-F238E27FC236}">
                <a16:creationId xmlns:a16="http://schemas.microsoft.com/office/drawing/2014/main" id="{2595DA74-33F5-8E48-A29B-0384767D5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68122" y="5074754"/>
            <a:ext cx="1482253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17" name="Marcador de texto 7">
            <a:extLst>
              <a:ext uri="{FF2B5EF4-FFF2-40B4-BE49-F238E27FC236}">
                <a16:creationId xmlns:a16="http://schemas.microsoft.com/office/drawing/2014/main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17357" y="5074754"/>
            <a:ext cx="1482253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121" name="Marcador de texto 7">
            <a:extLst>
              <a:ext uri="{FF2B5EF4-FFF2-40B4-BE49-F238E27FC236}">
                <a16:creationId xmlns:a16="http://schemas.microsoft.com/office/drawing/2014/main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78467" y="5074754"/>
            <a:ext cx="1482253" cy="63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54" name="Marcador de posición de imagen 3">
            <a:extLst>
              <a:ext uri="{FF2B5EF4-FFF2-40B4-BE49-F238E27FC236}">
                <a16:creationId xmlns:a16="http://schemas.microsoft.com/office/drawing/2014/main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63322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:a16="http://schemas.microsoft.com/office/drawing/2014/main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3278467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:a16="http://schemas.microsoft.com/office/drawing/2014/main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6117357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7" name="Marcador de posición de imagen 3">
            <a:extLst>
              <a:ext uri="{FF2B5EF4-FFF2-40B4-BE49-F238E27FC236}">
                <a16:creationId xmlns:a16="http://schemas.microsoft.com/office/drawing/2014/main" id="{073AEE27-09DF-6543-BB4D-7D5DFB1B4B3D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8968122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:a16="http://schemas.microsoft.com/office/drawing/2014/main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3278467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:a16="http://schemas.microsoft.com/office/drawing/2014/main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6117357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0" name="Marcador de posición de imagen 3">
            <a:extLst>
              <a:ext uri="{FF2B5EF4-FFF2-40B4-BE49-F238E27FC236}">
                <a16:creationId xmlns:a16="http://schemas.microsoft.com/office/drawing/2014/main" id="{B55D27B1-5A3C-974C-BE65-F74B63816EF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968122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:a16="http://schemas.microsoft.com/office/drawing/2014/main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63322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D7F16B2B-5608-8049-AD16-92F8A7BB75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91D8A82A-8DED-044E-BE2B-E7D87459CE44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Marcador de texto 7">
            <a:extLst>
              <a:ext uri="{FF2B5EF4-FFF2-40B4-BE49-F238E27FC236}">
                <a16:creationId xmlns:a16="http://schemas.microsoft.com/office/drawing/2014/main" id="{3B47C91C-F7E8-3F45-821E-F2C53E4BE5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:a16="http://schemas.microsoft.com/office/drawing/2014/main" id="{A6AECD0F-9426-464D-BB7E-B8E60D81534C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284900969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 userDrawn="1">
          <p15:clr>
            <a:srgbClr val="FBAE40"/>
          </p15:clr>
        </p15:guide>
        <p15:guide id="3" pos="5632" userDrawn="1">
          <p15:clr>
            <a:srgbClr val="FBAE40"/>
          </p15:clr>
        </p15:guide>
        <p15:guide id="4" pos="3840" userDrawn="1">
          <p15:clr>
            <a:srgbClr val="FBAE40"/>
          </p15:clr>
        </p15:guide>
        <p15:guide id="5" pos="2048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diag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39" name="Conector recto 74">
            <a:extLst>
              <a:ext uri="{FF2B5EF4-FFF2-40B4-BE49-F238E27FC236}">
                <a16:creationId xmlns:a16="http://schemas.microsoft.com/office/drawing/2014/main" id="{2E83A0D3-D9D1-6D40-A776-3D97DAAA669E}"/>
              </a:ext>
            </a:extLst>
          </p:cNvPr>
          <p:cNvSpPr/>
          <p:nvPr userDrawn="1"/>
        </p:nvSpPr>
        <p:spPr>
          <a:xfrm flipH="1">
            <a:off x="2490076" y="4761353"/>
            <a:ext cx="2100209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34783B"/>
            </a:solidFill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" name="Imagen" descr="Imagen">
            <a:extLst>
              <a:ext uri="{FF2B5EF4-FFF2-40B4-BE49-F238E27FC236}">
                <a16:creationId xmlns:a16="http://schemas.microsoft.com/office/drawing/2014/main" id="{9779F4AF-5D4E-794B-A466-FB22A903A0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261465" y="1712995"/>
            <a:ext cx="7734487" cy="2581598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42" name="Círculo">
            <a:extLst>
              <a:ext uri="{FF2B5EF4-FFF2-40B4-BE49-F238E27FC236}">
                <a16:creationId xmlns:a16="http://schemas.microsoft.com/office/drawing/2014/main" id="{47C42AAE-D2EA-A84A-871A-0C47609DE7C1}"/>
              </a:ext>
            </a:extLst>
          </p:cNvPr>
          <p:cNvSpPr/>
          <p:nvPr userDrawn="1"/>
        </p:nvSpPr>
        <p:spPr>
          <a:xfrm>
            <a:off x="2077070" y="2797290"/>
            <a:ext cx="413006" cy="413006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1"/>
            </a:solidFill>
            <a:prstDash val="solid"/>
            <a:miter lim="400000"/>
          </a:ln>
          <a:effectLst/>
        </p:spPr>
        <p:txBody>
          <a:bodyPr wrap="square" lIns="25400" tIns="25400" rIns="25400" bIns="25400" numCol="1" anchor="ctr">
            <a:noAutofit/>
          </a:bodyPr>
          <a:lstStyle/>
          <a:p>
            <a:pPr algn="ctr" defTabSz="41275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3">
            <a:extLst>
              <a:ext uri="{FF2B5EF4-FFF2-40B4-BE49-F238E27FC236}">
                <a16:creationId xmlns:a16="http://schemas.microsoft.com/office/drawing/2014/main" id="{0FCA73FE-D49A-7545-825C-40B69769AC2B}"/>
              </a:ext>
            </a:extLst>
          </p:cNvPr>
          <p:cNvSpPr txBox="1"/>
          <p:nvPr userDrawn="1"/>
        </p:nvSpPr>
        <p:spPr>
          <a:xfrm>
            <a:off x="2186639" y="2856629"/>
            <a:ext cx="205379" cy="3122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34783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2000" dirty="0"/>
              <a:t>1</a:t>
            </a:r>
          </a:p>
        </p:txBody>
      </p:sp>
      <p:sp>
        <p:nvSpPr>
          <p:cNvPr id="47" name="Círculo">
            <a:extLst>
              <a:ext uri="{FF2B5EF4-FFF2-40B4-BE49-F238E27FC236}">
                <a16:creationId xmlns:a16="http://schemas.microsoft.com/office/drawing/2014/main" id="{45ECB7D4-EDAE-FE48-9F43-04C457C03100}"/>
              </a:ext>
            </a:extLst>
          </p:cNvPr>
          <p:cNvSpPr/>
          <p:nvPr userDrawn="1"/>
        </p:nvSpPr>
        <p:spPr>
          <a:xfrm>
            <a:off x="7744554" y="3795582"/>
            <a:ext cx="413006" cy="413006"/>
          </a:xfrm>
          <a:prstGeom prst="ellipse">
            <a:avLst/>
          </a:prstGeom>
          <a:solidFill>
            <a:srgbClr val="FFFFFF"/>
          </a:solidFill>
          <a:ln w="31750" cap="flat">
            <a:solidFill>
              <a:srgbClr val="90BB3A"/>
            </a:solidFill>
            <a:prstDash val="solid"/>
            <a:miter lim="400000"/>
          </a:ln>
          <a:effectLst/>
        </p:spPr>
        <p:txBody>
          <a:bodyPr wrap="square" lIns="25400" tIns="25400" rIns="25400" bIns="25400" numCol="1" anchor="ctr">
            <a:noAutofit/>
          </a:bodyPr>
          <a:lstStyle/>
          <a:p>
            <a:pPr algn="ctr" defTabSz="41275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3">
            <a:extLst>
              <a:ext uri="{FF2B5EF4-FFF2-40B4-BE49-F238E27FC236}">
                <a16:creationId xmlns:a16="http://schemas.microsoft.com/office/drawing/2014/main" id="{ECA73037-CC25-994E-B9C4-3D9D5FEDFBCF}"/>
              </a:ext>
            </a:extLst>
          </p:cNvPr>
          <p:cNvSpPr txBox="1"/>
          <p:nvPr userDrawn="1"/>
        </p:nvSpPr>
        <p:spPr>
          <a:xfrm>
            <a:off x="7860242" y="3849395"/>
            <a:ext cx="205379" cy="312265"/>
          </a:xfrm>
          <a:prstGeom prst="rect">
            <a:avLst/>
          </a:prstGeom>
          <a:noFill/>
          <a:ln w="12700" cap="flat">
            <a:solidFill>
              <a:schemeClr val="bg1"/>
            </a:solidFill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90BB3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2000" dirty="0"/>
              <a:t>3</a:t>
            </a:r>
          </a:p>
        </p:txBody>
      </p:sp>
      <p:sp>
        <p:nvSpPr>
          <p:cNvPr id="49" name="Círculo">
            <a:extLst>
              <a:ext uri="{FF2B5EF4-FFF2-40B4-BE49-F238E27FC236}">
                <a16:creationId xmlns:a16="http://schemas.microsoft.com/office/drawing/2014/main" id="{B91AEEFA-2801-0E4A-A557-935B69C160C0}"/>
              </a:ext>
            </a:extLst>
          </p:cNvPr>
          <p:cNvSpPr/>
          <p:nvPr userDrawn="1"/>
        </p:nvSpPr>
        <p:spPr>
          <a:xfrm>
            <a:off x="5151646" y="1773241"/>
            <a:ext cx="413006" cy="413006"/>
          </a:xfrm>
          <a:prstGeom prst="ellipse">
            <a:avLst/>
          </a:prstGeom>
          <a:solidFill>
            <a:srgbClr val="FFFFFF"/>
          </a:solidFill>
          <a:ln w="31750" cap="flat">
            <a:solidFill>
              <a:schemeClr val="tx2"/>
            </a:solidFill>
            <a:prstDash val="solid"/>
            <a:miter lim="400000"/>
          </a:ln>
          <a:effectLst/>
        </p:spPr>
        <p:txBody>
          <a:bodyPr wrap="square" lIns="25400" tIns="25400" rIns="25400" bIns="25400" numCol="1" anchor="ctr">
            <a:noAutofit/>
          </a:bodyPr>
          <a:lstStyle/>
          <a:p>
            <a:pPr algn="ctr" defTabSz="41275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3">
            <a:extLst>
              <a:ext uri="{FF2B5EF4-FFF2-40B4-BE49-F238E27FC236}">
                <a16:creationId xmlns:a16="http://schemas.microsoft.com/office/drawing/2014/main" id="{5CB1B3A6-600F-8646-AE4B-9007700B8084}"/>
              </a:ext>
            </a:extLst>
          </p:cNvPr>
          <p:cNvSpPr txBox="1"/>
          <p:nvPr userDrawn="1"/>
        </p:nvSpPr>
        <p:spPr>
          <a:xfrm>
            <a:off x="5259269" y="1832578"/>
            <a:ext cx="205379" cy="3122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4000">
                <a:solidFill>
                  <a:srgbClr val="5E5E5E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2000" dirty="0"/>
              <a:t>2</a:t>
            </a:r>
          </a:p>
        </p:txBody>
      </p:sp>
      <p:sp>
        <p:nvSpPr>
          <p:cNvPr id="51" name="Conector recto 74">
            <a:extLst>
              <a:ext uri="{FF2B5EF4-FFF2-40B4-BE49-F238E27FC236}">
                <a16:creationId xmlns:a16="http://schemas.microsoft.com/office/drawing/2014/main" id="{5581399F-60DC-C146-9774-D7BD814FB18C}"/>
              </a:ext>
            </a:extLst>
          </p:cNvPr>
          <p:cNvSpPr/>
          <p:nvPr userDrawn="1"/>
        </p:nvSpPr>
        <p:spPr>
          <a:xfrm flipH="1">
            <a:off x="5045895" y="4761353"/>
            <a:ext cx="2100209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5E5E5E"/>
            </a:solidFill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Conector recto 74">
            <a:extLst>
              <a:ext uri="{FF2B5EF4-FFF2-40B4-BE49-F238E27FC236}">
                <a16:creationId xmlns:a16="http://schemas.microsoft.com/office/drawing/2014/main" id="{27D50CA8-0FE2-7645-830A-F4271EB0ED40}"/>
              </a:ext>
            </a:extLst>
          </p:cNvPr>
          <p:cNvSpPr/>
          <p:nvPr userDrawn="1"/>
        </p:nvSpPr>
        <p:spPr>
          <a:xfrm flipH="1">
            <a:off x="7626555" y="4761353"/>
            <a:ext cx="2100209" cy="1"/>
          </a:xfrm>
          <a:prstGeom prst="line">
            <a:avLst/>
          </a:prstGeom>
          <a:solidFill>
            <a:srgbClr val="FFFFFF"/>
          </a:solidFill>
          <a:ln w="15875">
            <a:solidFill>
              <a:srgbClr val="90BB3A"/>
            </a:solidFill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Marcador de texto 7">
            <a:extLst>
              <a:ext uri="{FF2B5EF4-FFF2-40B4-BE49-F238E27FC236}">
                <a16:creationId xmlns:a16="http://schemas.microsoft.com/office/drawing/2014/main" id="{CB581C8C-78B0-CF47-B07E-37D4BD365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90076" y="4999498"/>
            <a:ext cx="2100209" cy="758780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tx1"/>
              </a:buClr>
              <a:buSzPct val="80000"/>
              <a:buFont typeface="Wingdings" pitchFamily="2" charset="2"/>
              <a:buChar char="§"/>
              <a:defRPr sz="1400" b="0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8" name="Marcador de texto 7">
            <a:extLst>
              <a:ext uri="{FF2B5EF4-FFF2-40B4-BE49-F238E27FC236}">
                <a16:creationId xmlns:a16="http://schemas.microsoft.com/office/drawing/2014/main" id="{F6152E70-DB5D-FB46-AC42-E25D388437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58316" y="4999498"/>
            <a:ext cx="2100209" cy="758780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tx2"/>
              </a:buClr>
              <a:buSzPct val="80000"/>
              <a:buFont typeface="Wingdings" pitchFamily="2" charset="2"/>
              <a:buChar char="§"/>
              <a:defRPr sz="14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9" name="Marcador de texto 7">
            <a:extLst>
              <a:ext uri="{FF2B5EF4-FFF2-40B4-BE49-F238E27FC236}">
                <a16:creationId xmlns:a16="http://schemas.microsoft.com/office/drawing/2014/main" id="{97E32544-5D63-C045-A2C9-208A3A350E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26555" y="4999498"/>
            <a:ext cx="2100209" cy="758780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bg2"/>
              </a:buClr>
              <a:buSzPct val="80000"/>
              <a:buFont typeface="Wingdings" pitchFamily="2" charset="2"/>
              <a:buChar char="§"/>
              <a:defRPr sz="14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BB74E2B5-747C-214B-A21F-ABB0276159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B16CE18D-9213-524F-A475-59E8222A8FB2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Marcador de texto 7">
            <a:extLst>
              <a:ext uri="{FF2B5EF4-FFF2-40B4-BE49-F238E27FC236}">
                <a16:creationId xmlns:a16="http://schemas.microsoft.com/office/drawing/2014/main" id="{422E74A6-DF90-4340-84D6-7FDDA2ACD0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25" name="Marcador de número de diapositiva 1">
            <a:extLst>
              <a:ext uri="{FF2B5EF4-FFF2-40B4-BE49-F238E27FC236}">
                <a16:creationId xmlns:a16="http://schemas.microsoft.com/office/drawing/2014/main" id="{BD2892FD-8B11-D94E-92D6-35A1466F2AC1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4D8C07C6-F038-574C-9447-EE5D23F2AED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490076" y="2789698"/>
            <a:ext cx="2100209" cy="75878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tx1"/>
              </a:buClr>
              <a:buSzPct val="80000"/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:a16="http://schemas.microsoft.com/office/drawing/2014/main" id="{078480EC-C091-BE4F-BA1A-99D711D37C6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058316" y="2789698"/>
            <a:ext cx="2100209" cy="75878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tx2"/>
              </a:buClr>
              <a:buSzPct val="80000"/>
              <a:buFontTx/>
              <a:buNone/>
              <a:defRPr sz="1600" b="1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id="{A2A206CD-450F-6D4C-9ED9-D8B8580AA5F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626555" y="2789698"/>
            <a:ext cx="2100209" cy="758780"/>
          </a:xfrm>
          <a:prstGeom prst="rect">
            <a:avLst/>
          </a:prstGeom>
        </p:spPr>
        <p:txBody>
          <a:bodyPr/>
          <a:lstStyle>
            <a:lvl1pPr marL="171450" indent="-171450" algn="ctr">
              <a:buClr>
                <a:schemeClr val="bg2"/>
              </a:buClr>
              <a:buSzPct val="80000"/>
              <a:buFontTx/>
              <a:buNone/>
              <a:defRPr sz="1600" b="1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Bold 16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30004028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 userDrawn="1">
          <p15:clr>
            <a:srgbClr val="FBAE40"/>
          </p15:clr>
        </p15:guide>
        <p15:guide id="3" pos="1206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:a16="http://schemas.microsoft.com/office/drawing/2014/main" id="{A18F745A-2F94-7047-844D-CB79FE04F5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43" name="Rectángulo">
            <a:extLst>
              <a:ext uri="{FF2B5EF4-FFF2-40B4-BE49-F238E27FC236}">
                <a16:creationId xmlns:a16="http://schemas.microsoft.com/office/drawing/2014/main" id="{42316AC7-064E-6646-A5F4-425D51B6A2C9}"/>
              </a:ext>
            </a:extLst>
          </p:cNvPr>
          <p:cNvSpPr/>
          <p:nvPr userDrawn="1"/>
        </p:nvSpPr>
        <p:spPr>
          <a:xfrm>
            <a:off x="430791" y="3429000"/>
            <a:ext cx="2736057" cy="3430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913606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200"/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457" y="5036560"/>
            <a:ext cx="2186319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457" y="3947663"/>
            <a:ext cx="1257300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67" name="Marcador de texto 7">
            <a:extLst>
              <a:ext uri="{FF2B5EF4-FFF2-40B4-BE49-F238E27FC236}">
                <a16:creationId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458" y="4506530"/>
            <a:ext cx="1454400" cy="25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68" name="Rectángulo">
            <a:extLst>
              <a:ext uri="{FF2B5EF4-FFF2-40B4-BE49-F238E27FC236}">
                <a16:creationId xmlns:a16="http://schemas.microsoft.com/office/drawing/2014/main" id="{276E5EE1-B3E1-3F4B-83B9-25BBCDB7164A}"/>
              </a:ext>
            </a:extLst>
          </p:cNvPr>
          <p:cNvSpPr/>
          <p:nvPr userDrawn="1"/>
        </p:nvSpPr>
        <p:spPr>
          <a:xfrm>
            <a:off x="3284827" y="2606947"/>
            <a:ext cx="2736057" cy="4251053"/>
          </a:xfrm>
          <a:prstGeom prst="rect">
            <a:avLst/>
          </a:prstGeom>
          <a:solidFill>
            <a:schemeClr val="tx1"/>
          </a:solidFill>
          <a:ln w="127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913606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600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4175" y="4215680"/>
            <a:ext cx="2186319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0" name="Marcador de texto 7">
            <a:extLst>
              <a:ext uri="{FF2B5EF4-FFF2-40B4-BE49-F238E27FC236}">
                <a16:creationId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4175" y="3126783"/>
            <a:ext cx="1257300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0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4175" y="3685649"/>
            <a:ext cx="1440000" cy="25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2" name="Rectángulo">
            <a:extLst>
              <a:ext uri="{FF2B5EF4-FFF2-40B4-BE49-F238E27FC236}">
                <a16:creationId xmlns:a16="http://schemas.microsoft.com/office/drawing/2014/main" id="{34114B99-D22D-E64B-9FCB-2F541FEA6055}"/>
              </a:ext>
            </a:extLst>
          </p:cNvPr>
          <p:cNvSpPr/>
          <p:nvPr userDrawn="1"/>
        </p:nvSpPr>
        <p:spPr>
          <a:xfrm>
            <a:off x="6138863" y="3427828"/>
            <a:ext cx="2736057" cy="3430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913606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600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2066" y="5036560"/>
            <a:ext cx="2186319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2066" y="3947663"/>
            <a:ext cx="1257300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0" name="Marcador de texto 7">
            <a:extLst>
              <a:ext uri="{FF2B5EF4-FFF2-40B4-BE49-F238E27FC236}">
                <a16:creationId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2067" y="4506531"/>
            <a:ext cx="1440000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91" name="Rectángulo">
            <a:extLst>
              <a:ext uri="{FF2B5EF4-FFF2-40B4-BE49-F238E27FC236}">
                <a16:creationId xmlns:a16="http://schemas.microsoft.com/office/drawing/2014/main" id="{10682241-31DE-024D-A676-34E4EE3DCF6E}"/>
              </a:ext>
            </a:extLst>
          </p:cNvPr>
          <p:cNvSpPr/>
          <p:nvPr userDrawn="1"/>
        </p:nvSpPr>
        <p:spPr>
          <a:xfrm>
            <a:off x="8992900" y="3427828"/>
            <a:ext cx="2736057" cy="3430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913606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600"/>
          </a:p>
        </p:txBody>
      </p:sp>
      <p:sp>
        <p:nvSpPr>
          <p:cNvPr id="92" name="Marcador de texto 7">
            <a:extLst>
              <a:ext uri="{FF2B5EF4-FFF2-40B4-BE49-F238E27FC236}">
                <a16:creationId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8394" y="5036560"/>
            <a:ext cx="2186319" cy="15397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93" name="Marcador de texto 7">
            <a:extLst>
              <a:ext uri="{FF2B5EF4-FFF2-40B4-BE49-F238E27FC236}">
                <a16:creationId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8394" y="3947663"/>
            <a:ext cx="1257300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8394" y="4506531"/>
            <a:ext cx="1440000" cy="2525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288B394B-59AC-3341-A03B-2871C2DCFA0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E3E80800-B2D5-BA49-99E7-7B7BA142D7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7FFFC22C-002A-634D-885D-15941E6B6411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88966529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3" pos="3874" userDrawn="1">
          <p15:clr>
            <a:srgbClr val="FBAE40"/>
          </p15:clr>
        </p15:guide>
        <p15:guide id="4" orient="horz" pos="1638" userDrawn="1">
          <p15:clr>
            <a:srgbClr val="FBAE40"/>
          </p15:clr>
        </p15:guide>
        <p15:guide id="5" pos="2071" userDrawn="1">
          <p15:clr>
            <a:srgbClr val="FBAE40"/>
          </p15:clr>
        </p15:guide>
        <p15:guide id="6" pos="5655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>
            <a:extLst>
              <a:ext uri="{FF2B5EF4-FFF2-40B4-BE49-F238E27FC236}">
                <a16:creationId xmlns:a16="http://schemas.microsoft.com/office/drawing/2014/main" id="{A18F745A-2F94-7047-844D-CB79FE04F5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22" name="Rectángulo">
            <a:extLst>
              <a:ext uri="{FF2B5EF4-FFF2-40B4-BE49-F238E27FC236}">
                <a16:creationId xmlns:a16="http://schemas.microsoft.com/office/drawing/2014/main" id="{924593A7-BA3B-134F-B552-3C8E240BE639}"/>
              </a:ext>
            </a:extLst>
          </p:cNvPr>
          <p:cNvSpPr/>
          <p:nvPr userDrawn="1"/>
        </p:nvSpPr>
        <p:spPr>
          <a:xfrm>
            <a:off x="436563" y="2598738"/>
            <a:ext cx="2736057" cy="42830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913606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600"/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6284" y="2870424"/>
            <a:ext cx="2336790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6284" y="3429292"/>
            <a:ext cx="2336791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CL" dirty="0"/>
              <a:t>Texto Arial 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6275" y="4852194"/>
            <a:ext cx="2336800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2" name="Rectángulo">
            <a:extLst>
              <a:ext uri="{FF2B5EF4-FFF2-40B4-BE49-F238E27FC236}">
                <a16:creationId xmlns:a16="http://schemas.microsoft.com/office/drawing/2014/main" id="{47872927-EDEB-034D-AB0F-40AD76882404}"/>
              </a:ext>
            </a:extLst>
          </p:cNvPr>
          <p:cNvSpPr/>
          <p:nvPr userDrawn="1"/>
        </p:nvSpPr>
        <p:spPr>
          <a:xfrm>
            <a:off x="3284826" y="2597944"/>
            <a:ext cx="2736057" cy="4283076"/>
          </a:xfrm>
          <a:prstGeom prst="rect">
            <a:avLst/>
          </a:prstGeom>
          <a:solidFill>
            <a:schemeClr val="tx1"/>
          </a:solidFill>
          <a:ln w="127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913606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600"/>
          </a:p>
        </p:txBody>
      </p:sp>
      <p:sp>
        <p:nvSpPr>
          <p:cNvPr id="33" name="Marcador de texto 7">
            <a:extLst>
              <a:ext uri="{FF2B5EF4-FFF2-40B4-BE49-F238E27FC236}">
                <a16:creationId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002" y="2870424"/>
            <a:ext cx="2336790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13002" y="3429292"/>
            <a:ext cx="2336791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CL" dirty="0"/>
              <a:t>Texto Arial 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12993" y="4852194"/>
            <a:ext cx="2336800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6" name="Rectángulo">
            <a:extLst>
              <a:ext uri="{FF2B5EF4-FFF2-40B4-BE49-F238E27FC236}">
                <a16:creationId xmlns:a16="http://schemas.microsoft.com/office/drawing/2014/main" id="{43BC13CA-7E2D-6E45-8712-486D874903DD}"/>
              </a:ext>
            </a:extLst>
          </p:cNvPr>
          <p:cNvSpPr/>
          <p:nvPr userDrawn="1"/>
        </p:nvSpPr>
        <p:spPr>
          <a:xfrm>
            <a:off x="6138862" y="2597944"/>
            <a:ext cx="2736057" cy="42830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913606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600"/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80893" y="2870424"/>
            <a:ext cx="2336790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0893" y="3429292"/>
            <a:ext cx="2336791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CL" dirty="0"/>
              <a:t>Texto Arial 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80884" y="4852194"/>
            <a:ext cx="2336800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45" name="Rectángulo">
            <a:extLst>
              <a:ext uri="{FF2B5EF4-FFF2-40B4-BE49-F238E27FC236}">
                <a16:creationId xmlns:a16="http://schemas.microsoft.com/office/drawing/2014/main" id="{8FB68190-D7E3-B141-817A-FAF1FE4B4632}"/>
              </a:ext>
            </a:extLst>
          </p:cNvPr>
          <p:cNvSpPr/>
          <p:nvPr userDrawn="1"/>
        </p:nvSpPr>
        <p:spPr>
          <a:xfrm>
            <a:off x="8992899" y="2597944"/>
            <a:ext cx="2736057" cy="42830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913606">
              <a:defRPr sz="3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600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7220" y="2870424"/>
            <a:ext cx="2336791" cy="511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221" y="3429292"/>
            <a:ext cx="2336791" cy="123987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CL" dirty="0"/>
              <a:t>Texto Arial 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207212" y="4852194"/>
            <a:ext cx="2336800" cy="1465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722C3EDB-D738-E246-86EC-97C9B2ABBCA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E2640798-A3FA-A14B-B083-0D0C4A2696AD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" name="Marcador de texto 7">
            <a:extLst>
              <a:ext uri="{FF2B5EF4-FFF2-40B4-BE49-F238E27FC236}">
                <a16:creationId xmlns:a16="http://schemas.microsoft.com/office/drawing/2014/main" id="{78E7700C-5F84-EC46-AB3F-AE24E72EA1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57302267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3" pos="3874" userDrawn="1">
          <p15:clr>
            <a:srgbClr val="FBAE40"/>
          </p15:clr>
        </p15:guide>
        <p15:guide id="4" orient="horz" pos="1637" userDrawn="1">
          <p15:clr>
            <a:srgbClr val="FBAE40"/>
          </p15:clr>
        </p15:guide>
        <p15:guide id="5" pos="2071" userDrawn="1">
          <p15:clr>
            <a:srgbClr val="FBAE40"/>
          </p15:clr>
        </p15:guide>
        <p15:guide id="6" pos="5655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C6F6EF54-31B0-E446-AA5A-A0BC24DEC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4845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C6F6EF54-31B0-E446-AA5A-A0BC24DEC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358244" y="1629752"/>
            <a:ext cx="7354331" cy="46457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0463" y="1629752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0463" y="4039866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89DAC31A-247A-D74E-952E-6F83C028789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6B84409A-7DB1-0A42-A399-CF275092B3C7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A4CA2FC6-6030-0F48-9007-ED1A1BEF55E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id="{576392FD-B02F-5841-A6D5-3B95F612C7B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244148170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  <p15:guide id="2" pos="370" userDrawn="1">
          <p15:clr>
            <a:srgbClr val="FBAE40"/>
          </p15:clr>
        </p15:guide>
        <p15:guide id="4" orient="horz" pos="391" userDrawn="1">
          <p15:clr>
            <a:srgbClr val="FBAE40"/>
          </p15:clr>
        </p15:guide>
        <p15:guide id="6" pos="737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7375" y="635000"/>
            <a:ext cx="7085013" cy="562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892257" y="63500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892257" y="355123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id="{53F0F98A-0BE7-C445-8A01-4DF67FEAEA39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414629679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  <p15:guide id="2" pos="370" userDrawn="1">
          <p15:clr>
            <a:srgbClr val="FBAE40"/>
          </p15:clr>
        </p15:guide>
        <p15:guide id="4" orient="horz" pos="391" userDrawn="1">
          <p15:clr>
            <a:srgbClr val="FBAE40"/>
          </p15:clr>
        </p15:guide>
        <p15:guide id="6" pos="739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ortada con patr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99B42066-7866-0240-9F49-E05D36DA944D}"/>
              </a:ext>
            </a:extLst>
          </p:cNvPr>
          <p:cNvSpPr/>
          <p:nvPr userDrawn="1"/>
        </p:nvSpPr>
        <p:spPr>
          <a:xfrm>
            <a:off x="9440333" y="0"/>
            <a:ext cx="2751667" cy="6858000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_tradn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35C4F852-544B-1A44-835E-3F7740F060ED}"/>
              </a:ext>
            </a:extLst>
          </p:cNvPr>
          <p:cNvSpPr/>
          <p:nvPr userDrawn="1"/>
        </p:nvSpPr>
        <p:spPr>
          <a:xfrm>
            <a:off x="436563" y="1620837"/>
            <a:ext cx="11298310" cy="361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_tradn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Imagen 5" descr="Patrón de fondo&#10;&#10;Descripción generada automáticamente">
            <a:extLst>
              <a:ext uri="{FF2B5EF4-FFF2-40B4-BE49-F238E27FC236}">
                <a16:creationId xmlns:a16="http://schemas.microsoft.com/office/drawing/2014/main" id="{0CF543EF-BC20-D44B-8976-CAF21AF152C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564" y="1640436"/>
            <a:ext cx="11298310" cy="3596727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0894936" y="5576309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200" dirty="0" err="1">
                <a:solidFill>
                  <a:schemeClr val="bg1"/>
                </a:solidFill>
              </a:rPr>
              <a:t>Asociación</a:t>
            </a:r>
            <a:r>
              <a:rPr sz="1200" dirty="0">
                <a:solidFill>
                  <a:schemeClr val="bg1"/>
                </a:solidFill>
              </a:rPr>
              <a:t> </a:t>
            </a:r>
            <a:r>
              <a:rPr sz="1200" dirty="0" err="1">
                <a:solidFill>
                  <a:schemeClr val="bg1"/>
                </a:solidFill>
              </a:rPr>
              <a:t>Chilena</a:t>
            </a:r>
            <a:r>
              <a:rPr sz="1200" dirty="0">
                <a:solidFill>
                  <a:schemeClr val="bg1"/>
                </a:solidFill>
              </a:rPr>
              <a:t> de </a:t>
            </a:r>
            <a:r>
              <a:rPr sz="1200" dirty="0" err="1">
                <a:solidFill>
                  <a:schemeClr val="bg1"/>
                </a:solidFill>
              </a:rPr>
              <a:t>Seguridad</a:t>
            </a:r>
            <a:endParaRPr sz="1200" dirty="0">
              <a:solidFill>
                <a:schemeClr val="bg1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47905" y="6307024"/>
            <a:ext cx="1039662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3761" y="1865435"/>
            <a:ext cx="4837067" cy="176026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Bold - 30 puntos</a:t>
            </a:r>
            <a:endParaRPr lang="es-CL" dirty="0"/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46A82000-D5F4-8949-BD2C-BDC53F0D950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143702" y="550976"/>
            <a:ext cx="591171" cy="591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690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20190"/>
            <a:ext cx="4260960" cy="189972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bg1"/>
                </a:solidFill>
                <a:highlight>
                  <a:srgbClr val="106737"/>
                </a:highlight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Arial Bold - 30 puntos </a:t>
            </a:r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id="{8C7E3B29-93C0-E749-825D-83469FC29305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209706860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Verde Achs_si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7786604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Verde Portadilla capitulo c titulo y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AE778524-FF3E-854B-8354-9055B254C1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5BF41120-3577-3941-A82D-7C6233072C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B47F1200-4BAC-544D-AD4A-E50005C1E7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8285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237DBFEE-C1AA-EC44-85DE-024019196ABD}"/>
              </a:ext>
            </a:extLst>
          </p:cNvPr>
          <p:cNvCxnSpPr>
            <a:cxnSpLocks/>
          </p:cNvCxnSpPr>
          <p:nvPr userDrawn="1"/>
        </p:nvCxnSpPr>
        <p:spPr>
          <a:xfrm>
            <a:off x="556518" y="1243517"/>
            <a:ext cx="1080000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707466709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de Portadilla capitulo c titulo y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D995375A-BF6D-374E-9047-693FB87BEE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38646" y="452438"/>
            <a:ext cx="796227" cy="796227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:a16="http://schemas.microsoft.com/office/drawing/2014/main" id="{543D02BF-D139-924D-9792-878836A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080" y="710197"/>
            <a:ext cx="5917890" cy="1311643"/>
          </a:xfrm>
          <a:prstGeom prst="rect">
            <a:avLst/>
          </a:prstGeom>
        </p:spPr>
        <p:txBody>
          <a:bodyPr/>
          <a:lstStyle>
            <a:lvl1pPr>
              <a:lnSpc>
                <a:spcPts val="325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Título portadilla</a:t>
            </a:r>
            <a:br>
              <a:rPr lang="es-ES" dirty="0"/>
            </a:br>
            <a:r>
              <a:rPr lang="es-ES" dirty="0"/>
              <a:t>Máximo 3 líneas</a:t>
            </a:r>
            <a:br>
              <a:rPr lang="es-ES" dirty="0"/>
            </a:br>
            <a:r>
              <a:rPr lang="es-ES" dirty="0"/>
              <a:t>Arial Bold – 3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770328369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is-con titulo y texto">
    <p:bg>
      <p:bgPr>
        <a:solidFill>
          <a:srgbClr val="5E5E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643F07F7-0867-CD45-9983-D25FA61D8D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07" y="1620838"/>
            <a:ext cx="11291094" cy="479821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chemeClr val="bg1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bg1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400">
                <a:solidFill>
                  <a:schemeClr val="bg1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>
                <a:tab pos="1571625" algn="l"/>
              </a:tabLs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Párrafo sólo texto Arial 16</a:t>
            </a:r>
          </a:p>
          <a:p>
            <a:pPr lvl="1"/>
            <a:r>
              <a:rPr lang="es-ES" dirty="0" err="1"/>
              <a:t>Bullet</a:t>
            </a:r>
            <a:r>
              <a:rPr lang="es-ES" dirty="0"/>
              <a:t> Arial 16</a:t>
            </a:r>
          </a:p>
          <a:p>
            <a:pPr lvl="2"/>
            <a:r>
              <a:rPr lang="es-ES" dirty="0"/>
              <a:t>Sub-</a:t>
            </a:r>
            <a:r>
              <a:rPr lang="es-ES" dirty="0" err="1"/>
              <a:t>Bullet</a:t>
            </a:r>
            <a:r>
              <a:rPr lang="es-ES" dirty="0"/>
              <a:t> Arial 14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10FFEFCF-A246-054D-A242-68285F828B8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263" y="450851"/>
            <a:ext cx="7170738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20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47C786BA-5362-F647-93FC-6D915A4D1170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81AB755D-A841-FC4A-9371-6BBDCC322B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833693"/>
            <a:ext cx="7170738" cy="356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8</a:t>
            </a:r>
            <a:endParaRPr lang="es-CL" dirty="0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:a16="http://schemas.microsoft.com/office/drawing/2014/main" id="{B6005794-B1A7-8346-8A09-45216AB23D5A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7471584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Cierre_cas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B5C6C5B5-87BA-BE43-A2F8-77EEFD06671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02453" y="2475025"/>
            <a:ext cx="1589958" cy="1907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70554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3117938"/>
              </p:ext>
            </p:ext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4" name="3 Objeto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n 5" descr="Imagen que contiene nombre de la empresa&#10;&#10;Descripción generada automáticamente">
            <a:extLst>
              <a:ext uri="{FF2B5EF4-FFF2-40B4-BE49-F238E27FC236}">
                <a16:creationId xmlns:a16="http://schemas.microsoft.com/office/drawing/2014/main" id="{20A0342B-5805-5D44-B673-DB8532F5CEE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4433" y="2468879"/>
            <a:ext cx="2541496" cy="1920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67919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5410" y="5902056"/>
            <a:ext cx="5320002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14259" y="4199865"/>
            <a:ext cx="5361957" cy="130036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          Máximo 3 líneas                       Arial Bold - 30 puntos</a:t>
            </a:r>
            <a:endParaRPr lang="es-CL" dirty="0"/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46A82000-D5F4-8949-BD2C-BDC53F0D950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954181" y="4258404"/>
            <a:ext cx="898386" cy="898386"/>
          </a:xfrm>
          <a:prstGeom prst="rect">
            <a:avLst/>
          </a:prstGeom>
        </p:spPr>
      </p:pic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AAD3EDA4-60A2-6D48-8A60-78FAD23C1DE5}"/>
              </a:ext>
            </a:extLst>
          </p:cNvPr>
          <p:cNvCxnSpPr>
            <a:cxnSpLocks/>
          </p:cNvCxnSpPr>
          <p:nvPr userDrawn="1"/>
        </p:nvCxnSpPr>
        <p:spPr>
          <a:xfrm>
            <a:off x="5344160" y="4269037"/>
            <a:ext cx="0" cy="2618429"/>
          </a:xfrm>
          <a:prstGeom prst="line">
            <a:avLst/>
          </a:prstGeom>
          <a:noFill/>
          <a:ln w="25400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390398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 con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8EDD70E6-9719-384C-98E1-944F830A10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366688970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1" userDrawn="1">
          <p15:clr>
            <a:srgbClr val="FBAE40"/>
          </p15:clr>
        </p15:guide>
        <p15:guide id="2" orient="horz" pos="1548" userDrawn="1">
          <p15:clr>
            <a:srgbClr val="FBAE40"/>
          </p15:clr>
        </p15:guide>
        <p15:guide id="3" pos="1232" userDrawn="1">
          <p15:clr>
            <a:srgbClr val="FBAE40"/>
          </p15:clr>
        </p15:guide>
        <p15:guide id="4" pos="3281" userDrawn="1">
          <p15:clr>
            <a:srgbClr val="FBAE40"/>
          </p15:clr>
        </p15:guide>
        <p15:guide id="5" pos="5339" userDrawn="1">
          <p15:clr>
            <a:srgbClr val="FBAE40"/>
          </p15:clr>
        </p15:guide>
        <p15:guide id="6" orient="horz" pos="28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3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82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5A6D60D2-2296-5945-875B-EFE4B97EF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480F94C3-E251-0A4D-B7E8-0D448B426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28" y="458787"/>
            <a:ext cx="3528716" cy="720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0</a:t>
            </a:r>
            <a:endParaRPr lang="es-CL" dirty="0"/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43488" y="1753128"/>
            <a:ext cx="5361957" cy="753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43488" y="3543046"/>
            <a:ext cx="5361957" cy="753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43488" y="5289304"/>
            <a:ext cx="5361957" cy="753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F3B3F3D2-0F92-234D-B1C3-EAD24852DDCD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0" name="Línea">
            <a:extLst>
              <a:ext uri="{FF2B5EF4-FFF2-40B4-BE49-F238E27FC236}">
                <a16:creationId xmlns:a16="http://schemas.microsoft.com/office/drawing/2014/main" id="{ACAFD732-0024-AB4A-B6C4-1C266EDA27A5}"/>
              </a:ext>
            </a:extLst>
          </p:cNvPr>
          <p:cNvSpPr/>
          <p:nvPr userDrawn="1"/>
        </p:nvSpPr>
        <p:spPr>
          <a:xfrm flipV="1">
            <a:off x="4889502" y="1855051"/>
            <a:ext cx="0" cy="5102340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21" name="Círculo">
            <a:extLst>
              <a:ext uri="{FF2B5EF4-FFF2-40B4-BE49-F238E27FC236}">
                <a16:creationId xmlns:a16="http://schemas.microsoft.com/office/drawing/2014/main" id="{226E99C8-C103-A44C-975B-FAA291C5B817}"/>
              </a:ext>
            </a:extLst>
          </p:cNvPr>
          <p:cNvSpPr/>
          <p:nvPr userDrawn="1"/>
        </p:nvSpPr>
        <p:spPr>
          <a:xfrm>
            <a:off x="4825756" y="1808503"/>
            <a:ext cx="135624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2" name="Círculo">
            <a:extLst>
              <a:ext uri="{FF2B5EF4-FFF2-40B4-BE49-F238E27FC236}">
                <a16:creationId xmlns:a16="http://schemas.microsoft.com/office/drawing/2014/main" id="{6E4561DF-A601-CB46-8EC7-590DDB38AD6B}"/>
              </a:ext>
            </a:extLst>
          </p:cNvPr>
          <p:cNvSpPr/>
          <p:nvPr userDrawn="1"/>
        </p:nvSpPr>
        <p:spPr>
          <a:xfrm>
            <a:off x="4825756" y="3591818"/>
            <a:ext cx="135624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" name="Círculo">
            <a:extLst>
              <a:ext uri="{FF2B5EF4-FFF2-40B4-BE49-F238E27FC236}">
                <a16:creationId xmlns:a16="http://schemas.microsoft.com/office/drawing/2014/main" id="{588AF64C-EC8A-E946-B69F-F94B0EDE600F}"/>
              </a:ext>
            </a:extLst>
          </p:cNvPr>
          <p:cNvSpPr/>
          <p:nvPr userDrawn="1"/>
        </p:nvSpPr>
        <p:spPr>
          <a:xfrm>
            <a:off x="4821690" y="5344706"/>
            <a:ext cx="135624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" name="Marcador de número de diapositiva 1">
            <a:extLst>
              <a:ext uri="{FF2B5EF4-FFF2-40B4-BE49-F238E27FC236}">
                <a16:creationId xmlns:a16="http://schemas.microsoft.com/office/drawing/2014/main" id="{F73F49AB-4F17-0C44-8DE0-127845E9897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394338492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216" userDrawn="1">
          <p15:clr>
            <a:srgbClr val="FBAE40"/>
          </p15:clr>
        </p15:guide>
        <p15:guide id="2" orient="horz" pos="2344" userDrawn="1">
          <p15:clr>
            <a:srgbClr val="FBAE40"/>
          </p15:clr>
        </p15:guide>
        <p15:guide id="3" orient="horz" pos="3373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  <p15:guide id="5" orient="horz" pos="2273" userDrawn="1">
          <p15:clr>
            <a:srgbClr val="FBAE40"/>
          </p15:clr>
        </p15:guide>
        <p15:guide id="6" orient="horz" pos="1146" userDrawn="1">
          <p15:clr>
            <a:srgbClr val="FBAE40"/>
          </p15:clr>
        </p15:guide>
        <p15:guide id="7" pos="317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95881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8C5653FB-0B55-DF49-89A0-7BB644B8B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Línea">
            <a:extLst>
              <a:ext uri="{FF2B5EF4-FFF2-40B4-BE49-F238E27FC236}">
                <a16:creationId xmlns:a16="http://schemas.microsoft.com/office/drawing/2014/main" id="{832578E3-BC08-FD4F-8D2A-99D9B2768843}"/>
              </a:ext>
            </a:extLst>
          </p:cNvPr>
          <p:cNvSpPr/>
          <p:nvPr userDrawn="1"/>
        </p:nvSpPr>
        <p:spPr>
          <a:xfrm flipV="1">
            <a:off x="4889502" y="1855051"/>
            <a:ext cx="0" cy="5102340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4" name="Círculo">
            <a:extLst>
              <a:ext uri="{FF2B5EF4-FFF2-40B4-BE49-F238E27FC236}">
                <a16:creationId xmlns:a16="http://schemas.microsoft.com/office/drawing/2014/main" id="{BBD7799B-2501-484A-BE95-7AFA110DBA90}"/>
              </a:ext>
            </a:extLst>
          </p:cNvPr>
          <p:cNvSpPr/>
          <p:nvPr userDrawn="1"/>
        </p:nvSpPr>
        <p:spPr>
          <a:xfrm>
            <a:off x="4825756" y="1793189"/>
            <a:ext cx="135624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3D05D424-30B2-7E47-9AB6-C83E1B90EA12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55261" y="1739603"/>
            <a:ext cx="5361957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0" name="Marcador de texto 7">
            <a:extLst>
              <a:ext uri="{FF2B5EF4-FFF2-40B4-BE49-F238E27FC236}">
                <a16:creationId xmlns:a16="http://schemas.microsoft.com/office/drawing/2014/main" id="{8893FAC1-DC9D-9440-985E-77B4520EBDFC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055261" y="2988571"/>
            <a:ext cx="5361957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1" name="Marcador de texto 7">
            <a:extLst>
              <a:ext uri="{FF2B5EF4-FFF2-40B4-BE49-F238E27FC236}">
                <a16:creationId xmlns:a16="http://schemas.microsoft.com/office/drawing/2014/main" id="{1CDC6F2A-CD43-DC44-B35F-7AD48BD85D36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055261" y="4220038"/>
            <a:ext cx="5361957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:a16="http://schemas.microsoft.com/office/drawing/2014/main" id="{2E8EE67D-954B-1E4C-87F1-A82DF7427D5B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5055261" y="5451506"/>
            <a:ext cx="5361957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7" name="Título 1">
            <a:extLst>
              <a:ext uri="{FF2B5EF4-FFF2-40B4-BE49-F238E27FC236}">
                <a16:creationId xmlns:a16="http://schemas.microsoft.com/office/drawing/2014/main" id="{C27C4B29-5681-F840-AF4C-B53B095E23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28" y="458787"/>
            <a:ext cx="3528716" cy="720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0</a:t>
            </a:r>
            <a:endParaRPr lang="es-CL" dirty="0"/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3ED58160-D295-014E-8B1D-93C7813A7A43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6" name="Círculo">
            <a:extLst>
              <a:ext uri="{FF2B5EF4-FFF2-40B4-BE49-F238E27FC236}">
                <a16:creationId xmlns:a16="http://schemas.microsoft.com/office/drawing/2014/main" id="{26684165-1847-124A-8CE4-11A82C20E684}"/>
              </a:ext>
            </a:extLst>
          </p:cNvPr>
          <p:cNvSpPr/>
          <p:nvPr userDrawn="1"/>
        </p:nvSpPr>
        <p:spPr>
          <a:xfrm>
            <a:off x="4825756" y="3040099"/>
            <a:ext cx="135624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8" name="Círculo">
            <a:extLst>
              <a:ext uri="{FF2B5EF4-FFF2-40B4-BE49-F238E27FC236}">
                <a16:creationId xmlns:a16="http://schemas.microsoft.com/office/drawing/2014/main" id="{74EA298D-42E8-344C-8163-3E74A5E92824}"/>
              </a:ext>
            </a:extLst>
          </p:cNvPr>
          <p:cNvSpPr/>
          <p:nvPr userDrawn="1"/>
        </p:nvSpPr>
        <p:spPr>
          <a:xfrm>
            <a:off x="4825756" y="4273882"/>
            <a:ext cx="135624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9" name="Círculo">
            <a:extLst>
              <a:ext uri="{FF2B5EF4-FFF2-40B4-BE49-F238E27FC236}">
                <a16:creationId xmlns:a16="http://schemas.microsoft.com/office/drawing/2014/main" id="{26A67EF5-217F-5545-A3D7-AB10AB73A118}"/>
              </a:ext>
            </a:extLst>
          </p:cNvPr>
          <p:cNvSpPr/>
          <p:nvPr userDrawn="1"/>
        </p:nvSpPr>
        <p:spPr>
          <a:xfrm>
            <a:off x="4825756" y="5503291"/>
            <a:ext cx="135624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" name="Marcador de número de diapositiva 1">
            <a:extLst>
              <a:ext uri="{FF2B5EF4-FFF2-40B4-BE49-F238E27FC236}">
                <a16:creationId xmlns:a16="http://schemas.microsoft.com/office/drawing/2014/main" id="{4FA18335-D169-9344-A6C5-91AFEDE3035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253289175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74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4" orient="horz" pos="1997" userDrawn="1">
          <p15:clr>
            <a:srgbClr val="FBAE40"/>
          </p15:clr>
        </p15:guide>
        <p15:guide id="6" orient="horz" pos="3550" userDrawn="1">
          <p15:clr>
            <a:srgbClr val="FBAE40"/>
          </p15:clr>
        </p15:guide>
        <p15:guide id="7" orient="horz" pos="1207" userDrawn="1">
          <p15:clr>
            <a:srgbClr val="FBAE40"/>
          </p15:clr>
        </p15:guide>
        <p15:guide id="8" orient="horz" pos="2160" userDrawn="1">
          <p15:clr>
            <a:srgbClr val="FBAE40"/>
          </p15:clr>
        </p15:guide>
        <p15:guide id="9" orient="horz" pos="1139" userDrawn="1">
          <p15:clr>
            <a:srgbClr val="FBAE40"/>
          </p15:clr>
        </p15:guide>
        <p15:guide id="10" orient="horz" pos="1915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5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B3CF53D-25D4-9646-AB92-B8AA4975E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3378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B3CF53D-25D4-9646-AB92-B8AA4975E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20" name="Título 1">
            <a:extLst>
              <a:ext uri="{FF2B5EF4-FFF2-40B4-BE49-F238E27FC236}">
                <a16:creationId xmlns:a16="http://schemas.microsoft.com/office/drawing/2014/main" id="{85F7771C-C889-3F4D-9422-EADBF00AF25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57128" y="458787"/>
            <a:ext cx="3528716" cy="720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0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:a16="http://schemas.microsoft.com/office/drawing/2014/main" id="{033F232C-1A9F-1C4B-B63A-72AD25EAD3C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065683" y="1754566"/>
            <a:ext cx="5361957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F6EA4AA6-F211-574A-BE31-1CA2875DC6C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065683" y="2718569"/>
            <a:ext cx="5361957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863D69D1-EFC7-7243-988E-9B4FE12219E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65683" y="3682572"/>
            <a:ext cx="5361957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id="{C34B0237-B084-C74D-8391-D82249AAD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65683" y="4646575"/>
            <a:ext cx="5361957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:a16="http://schemas.microsoft.com/office/drawing/2014/main" id="{826E294F-5837-2245-BE2D-D36BCA4C5A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65683" y="5610577"/>
            <a:ext cx="5361957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id="{328CA6FF-8AB6-A846-8F9F-58E6916942EE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" name="Línea">
            <a:extLst>
              <a:ext uri="{FF2B5EF4-FFF2-40B4-BE49-F238E27FC236}">
                <a16:creationId xmlns:a16="http://schemas.microsoft.com/office/drawing/2014/main" id="{2F0252DA-0526-E04B-A5AB-565A0999DFA9}"/>
              </a:ext>
            </a:extLst>
          </p:cNvPr>
          <p:cNvSpPr/>
          <p:nvPr userDrawn="1"/>
        </p:nvSpPr>
        <p:spPr>
          <a:xfrm flipV="1">
            <a:off x="4889502" y="1855051"/>
            <a:ext cx="0" cy="5102340"/>
          </a:xfrm>
          <a:prstGeom prst="line">
            <a:avLst/>
          </a:prstGeom>
          <a:ln w="25400">
            <a:solidFill>
              <a:schemeClr val="tx1"/>
            </a:solidFill>
          </a:ln>
        </p:spPr>
        <p:txBody>
          <a:bodyPr lIns="22860" rIns="22860"/>
          <a:lstStyle/>
          <a:p>
            <a:pPr defTabSz="1218406">
              <a:defRPr>
                <a:latin typeface="Arial"/>
                <a:ea typeface="Arial"/>
                <a:cs typeface="Arial"/>
                <a:sym typeface="Arial"/>
              </a:defRPr>
            </a:pPr>
            <a:endParaRPr sz="1200">
              <a:latin typeface="Arial"/>
              <a:cs typeface="Arial"/>
              <a:sym typeface="Arial"/>
            </a:endParaRPr>
          </a:p>
        </p:txBody>
      </p:sp>
      <p:sp>
        <p:nvSpPr>
          <p:cNvPr id="32" name="Círculo">
            <a:extLst>
              <a:ext uri="{FF2B5EF4-FFF2-40B4-BE49-F238E27FC236}">
                <a16:creationId xmlns:a16="http://schemas.microsoft.com/office/drawing/2014/main" id="{5EBD3BAA-E338-E74B-B4DF-431734FDCD27}"/>
              </a:ext>
            </a:extLst>
          </p:cNvPr>
          <p:cNvSpPr/>
          <p:nvPr userDrawn="1"/>
        </p:nvSpPr>
        <p:spPr>
          <a:xfrm>
            <a:off x="4821690" y="1787239"/>
            <a:ext cx="135624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4" name="Círculo">
            <a:extLst>
              <a:ext uri="{FF2B5EF4-FFF2-40B4-BE49-F238E27FC236}">
                <a16:creationId xmlns:a16="http://schemas.microsoft.com/office/drawing/2014/main" id="{DB2D0711-71D5-FD4B-9481-A3307B3A6ACA}"/>
              </a:ext>
            </a:extLst>
          </p:cNvPr>
          <p:cNvSpPr/>
          <p:nvPr userDrawn="1"/>
        </p:nvSpPr>
        <p:spPr>
          <a:xfrm>
            <a:off x="4821690" y="5649226"/>
            <a:ext cx="135624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5" name="Círculo">
            <a:extLst>
              <a:ext uri="{FF2B5EF4-FFF2-40B4-BE49-F238E27FC236}">
                <a16:creationId xmlns:a16="http://schemas.microsoft.com/office/drawing/2014/main" id="{29E659B7-9E82-A14F-95D0-FF7ED8812D9C}"/>
              </a:ext>
            </a:extLst>
          </p:cNvPr>
          <p:cNvSpPr/>
          <p:nvPr userDrawn="1"/>
        </p:nvSpPr>
        <p:spPr>
          <a:xfrm>
            <a:off x="4822581" y="2766318"/>
            <a:ext cx="135624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6" name="Círculo">
            <a:extLst>
              <a:ext uri="{FF2B5EF4-FFF2-40B4-BE49-F238E27FC236}">
                <a16:creationId xmlns:a16="http://schemas.microsoft.com/office/drawing/2014/main" id="{73632F4F-FE52-304C-A320-85BDCD0F035B}"/>
              </a:ext>
            </a:extLst>
          </p:cNvPr>
          <p:cNvSpPr/>
          <p:nvPr userDrawn="1"/>
        </p:nvSpPr>
        <p:spPr>
          <a:xfrm>
            <a:off x="4821690" y="4693551"/>
            <a:ext cx="135624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7" name="Círculo">
            <a:extLst>
              <a:ext uri="{FF2B5EF4-FFF2-40B4-BE49-F238E27FC236}">
                <a16:creationId xmlns:a16="http://schemas.microsoft.com/office/drawing/2014/main" id="{8C591567-7AA5-CA4B-AAB8-A9F364E11F51}"/>
              </a:ext>
            </a:extLst>
          </p:cNvPr>
          <p:cNvSpPr/>
          <p:nvPr userDrawn="1"/>
        </p:nvSpPr>
        <p:spPr>
          <a:xfrm>
            <a:off x="4825756" y="3728343"/>
            <a:ext cx="135624" cy="135624"/>
          </a:xfrm>
          <a:prstGeom prst="ellipse">
            <a:avLst/>
          </a:prstGeom>
          <a:solidFill>
            <a:schemeClr val="tx1"/>
          </a:solid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8" name="Marcador de número de diapositiva 1">
            <a:extLst>
              <a:ext uri="{FF2B5EF4-FFF2-40B4-BE49-F238E27FC236}">
                <a16:creationId xmlns:a16="http://schemas.microsoft.com/office/drawing/2014/main" id="{8F02C25E-E0A2-3D4A-834C-C91E9B0B28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206731929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3185" userDrawn="1">
          <p15:clr>
            <a:srgbClr val="FBAE40"/>
          </p15:clr>
        </p15:guide>
        <p15:guide id="9" orient="horz" pos="432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i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99C22FEA-59FA-1540-A939-F039EF19BD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7570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99C22FEA-59FA-1540-A939-F039EF19BD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:a16="http://schemas.microsoft.com/office/drawing/2014/main" id="{F0F13478-20D7-DB4D-8994-4442E9CD0E5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29" name="Marcador de texto 4">
            <a:extLst>
              <a:ext uri="{FF2B5EF4-FFF2-40B4-BE49-F238E27FC236}">
                <a16:creationId xmlns:a16="http://schemas.microsoft.com/office/drawing/2014/main" id="{D4D8DB34-4EB6-A44E-A2E9-0DDD94FE7C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2801" y="2474547"/>
            <a:ext cx="1541698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0" name="Marcador de texto 6">
            <a:extLst>
              <a:ext uri="{FF2B5EF4-FFF2-40B4-BE49-F238E27FC236}">
                <a16:creationId xmlns:a16="http://schemas.microsoft.com/office/drawing/2014/main" id="{5F4649B2-5AD6-AD4B-9530-EB8FA0B798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2809" y="3678861"/>
            <a:ext cx="1541698" cy="124777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1">
                <a:solidFill>
                  <a:schemeClr val="bg2"/>
                </a:solidFill>
              </a:defRPr>
            </a:lvl1pPr>
            <a:lvl2pPr marL="304800" indent="0">
              <a:buNone/>
              <a:defRPr sz="1500">
                <a:solidFill>
                  <a:schemeClr val="tx2"/>
                </a:solidFill>
              </a:defRPr>
            </a:lvl2pPr>
            <a:lvl3pPr marL="609600" indent="0">
              <a:buNone/>
              <a:defRPr sz="1500">
                <a:solidFill>
                  <a:schemeClr val="tx2"/>
                </a:solidFill>
              </a:defRPr>
            </a:lvl3pPr>
            <a:lvl4pPr marL="914400" indent="0">
              <a:buNone/>
              <a:defRPr sz="1500">
                <a:solidFill>
                  <a:schemeClr val="tx2"/>
                </a:solidFill>
              </a:defRPr>
            </a:lvl4pPr>
            <a:lvl5pPr marL="1219200" indent="0">
              <a:buNone/>
              <a:defRPr sz="1500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Bold 16</a:t>
            </a:r>
            <a:endParaRPr lang="es-CL" dirty="0"/>
          </a:p>
        </p:txBody>
      </p:sp>
      <p:sp>
        <p:nvSpPr>
          <p:cNvPr id="33" name="Marcador de texto 4">
            <a:extLst>
              <a:ext uri="{FF2B5EF4-FFF2-40B4-BE49-F238E27FC236}">
                <a16:creationId xmlns:a16="http://schemas.microsoft.com/office/drawing/2014/main" id="{6FA40A4D-EF21-A64B-BF59-22654E0FC5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4708" y="2474547"/>
            <a:ext cx="1538120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4" name="Marcador de texto 6">
            <a:extLst>
              <a:ext uri="{FF2B5EF4-FFF2-40B4-BE49-F238E27FC236}">
                <a16:creationId xmlns:a16="http://schemas.microsoft.com/office/drawing/2014/main" id="{C2173465-02A7-5A42-9000-8BF6B7BE71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1582" y="3678861"/>
            <a:ext cx="1541698" cy="124777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 sz="1500">
                <a:solidFill>
                  <a:schemeClr val="tx2"/>
                </a:solidFill>
              </a:defRPr>
            </a:lvl2pPr>
            <a:lvl3pPr marL="609600" indent="0">
              <a:buNone/>
              <a:defRPr sz="1500">
                <a:solidFill>
                  <a:schemeClr val="tx2"/>
                </a:solidFill>
              </a:defRPr>
            </a:lvl3pPr>
            <a:lvl4pPr marL="914400" indent="0">
              <a:buNone/>
              <a:defRPr sz="1500">
                <a:solidFill>
                  <a:schemeClr val="tx2"/>
                </a:solidFill>
              </a:defRPr>
            </a:lvl4pPr>
            <a:lvl5pPr marL="1219200" indent="0">
              <a:buNone/>
              <a:defRPr sz="1500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6</a:t>
            </a:r>
          </a:p>
        </p:txBody>
      </p:sp>
      <p:sp>
        <p:nvSpPr>
          <p:cNvPr id="37" name="Marcador de texto 4">
            <a:extLst>
              <a:ext uri="{FF2B5EF4-FFF2-40B4-BE49-F238E27FC236}">
                <a16:creationId xmlns:a16="http://schemas.microsoft.com/office/drawing/2014/main" id="{74DCED2A-9C58-454A-8FD8-C41F4858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85034" y="2474547"/>
            <a:ext cx="1532753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8" name="Marcador de texto 6">
            <a:extLst>
              <a:ext uri="{FF2B5EF4-FFF2-40B4-BE49-F238E27FC236}">
                <a16:creationId xmlns:a16="http://schemas.microsoft.com/office/drawing/2014/main" id="{6538BA82-AE2C-E44B-A64C-98F8724D6B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82352" y="3678861"/>
            <a:ext cx="1541698" cy="124777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 sz="1500">
                <a:solidFill>
                  <a:schemeClr val="tx2"/>
                </a:solidFill>
              </a:defRPr>
            </a:lvl2pPr>
            <a:lvl3pPr marL="609600" indent="0">
              <a:buNone/>
              <a:defRPr sz="1500">
                <a:solidFill>
                  <a:schemeClr val="tx2"/>
                </a:solidFill>
              </a:defRPr>
            </a:lvl3pPr>
            <a:lvl4pPr marL="914400" indent="0">
              <a:buNone/>
              <a:defRPr sz="1500">
                <a:solidFill>
                  <a:schemeClr val="tx2"/>
                </a:solidFill>
              </a:defRPr>
            </a:lvl4pPr>
            <a:lvl5pPr marL="1219200" indent="0">
              <a:buNone/>
              <a:defRPr sz="1500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6</a:t>
            </a:r>
          </a:p>
        </p:txBody>
      </p:sp>
      <p:sp>
        <p:nvSpPr>
          <p:cNvPr id="41" name="Marcador de texto 4">
            <a:extLst>
              <a:ext uri="{FF2B5EF4-FFF2-40B4-BE49-F238E27FC236}">
                <a16:creationId xmlns:a16="http://schemas.microsoft.com/office/drawing/2014/main" id="{5E38B824-3D4A-4C46-8594-092BE3AC50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25618" y="2474547"/>
            <a:ext cx="1541693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2" name="Marcador de texto 6">
            <a:extLst>
              <a:ext uri="{FF2B5EF4-FFF2-40B4-BE49-F238E27FC236}">
                <a16:creationId xmlns:a16="http://schemas.microsoft.com/office/drawing/2014/main" id="{42923E17-3BCD-4148-B7F1-DC9E8DE35F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28747" y="3678861"/>
            <a:ext cx="1541698" cy="124777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 sz="1500">
                <a:solidFill>
                  <a:schemeClr val="tx2"/>
                </a:solidFill>
              </a:defRPr>
            </a:lvl2pPr>
            <a:lvl3pPr marL="609600" indent="0">
              <a:buNone/>
              <a:defRPr sz="1500">
                <a:solidFill>
                  <a:schemeClr val="tx2"/>
                </a:solidFill>
              </a:defRPr>
            </a:lvl3pPr>
            <a:lvl4pPr marL="914400" indent="0">
              <a:buNone/>
              <a:defRPr sz="1500">
                <a:solidFill>
                  <a:schemeClr val="tx2"/>
                </a:solidFill>
              </a:defRPr>
            </a:lvl4pPr>
            <a:lvl5pPr marL="1219200" indent="0">
              <a:buNone/>
              <a:defRPr sz="1500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6</a:t>
            </a:r>
          </a:p>
        </p:txBody>
      </p:sp>
      <p:sp>
        <p:nvSpPr>
          <p:cNvPr id="45" name="Marcador de texto 4">
            <a:extLst>
              <a:ext uri="{FF2B5EF4-FFF2-40B4-BE49-F238E27FC236}">
                <a16:creationId xmlns:a16="http://schemas.microsoft.com/office/drawing/2014/main" id="{D0656489-C7FB-6E4C-BCFA-62074E56CF5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80951" y="2474547"/>
            <a:ext cx="1541694" cy="8792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6" name="Marcador de texto 6">
            <a:extLst>
              <a:ext uri="{FF2B5EF4-FFF2-40B4-BE49-F238E27FC236}">
                <a16:creationId xmlns:a16="http://schemas.microsoft.com/office/drawing/2014/main" id="{F1B36306-245B-3644-B2F3-99F2E4A0EE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180951" y="3678861"/>
            <a:ext cx="1541698" cy="124777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04800" indent="0">
              <a:buNone/>
              <a:defRPr sz="1500">
                <a:solidFill>
                  <a:schemeClr val="tx2"/>
                </a:solidFill>
              </a:defRPr>
            </a:lvl2pPr>
            <a:lvl3pPr marL="609600" indent="0">
              <a:buNone/>
              <a:defRPr sz="1500">
                <a:solidFill>
                  <a:schemeClr val="tx2"/>
                </a:solidFill>
              </a:defRPr>
            </a:lvl3pPr>
            <a:lvl4pPr marL="914400" indent="0">
              <a:buNone/>
              <a:defRPr sz="1500">
                <a:solidFill>
                  <a:schemeClr val="tx2"/>
                </a:solidFill>
              </a:defRPr>
            </a:lvl4pPr>
            <a:lvl5pPr marL="1219200" indent="0">
              <a:buNone/>
              <a:defRPr sz="1500">
                <a:solidFill>
                  <a:schemeClr val="tx2"/>
                </a:solidFill>
              </a:defRPr>
            </a:lvl5pPr>
          </a:lstStyle>
          <a:p>
            <a:pPr lvl="0"/>
            <a:r>
              <a:rPr lang="es-ES" dirty="0"/>
              <a:t>Hacer clic para modificar los textos</a:t>
            </a:r>
          </a:p>
          <a:p>
            <a:pPr lvl="0"/>
            <a:r>
              <a:rPr lang="es-ES" dirty="0"/>
              <a:t>Arial 16</a:t>
            </a:r>
          </a:p>
        </p:txBody>
      </p: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id="{2B5E496B-C752-824B-90AB-16C0445ADA3D}"/>
              </a:ext>
            </a:extLst>
          </p:cNvPr>
          <p:cNvCxnSpPr>
            <a:cxnSpLocks/>
          </p:cNvCxnSpPr>
          <p:nvPr userDrawn="1"/>
        </p:nvCxnSpPr>
        <p:spPr>
          <a:xfrm>
            <a:off x="7446414" y="2474547"/>
            <a:ext cx="0" cy="245208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2" name="Conector recto 31">
            <a:extLst>
              <a:ext uri="{FF2B5EF4-FFF2-40B4-BE49-F238E27FC236}">
                <a16:creationId xmlns:a16="http://schemas.microsoft.com/office/drawing/2014/main" id="{C362018F-EA21-4C43-90C7-50DC98F19ABF}"/>
              </a:ext>
            </a:extLst>
          </p:cNvPr>
          <p:cNvCxnSpPr>
            <a:cxnSpLocks/>
          </p:cNvCxnSpPr>
          <p:nvPr userDrawn="1"/>
        </p:nvCxnSpPr>
        <p:spPr>
          <a:xfrm>
            <a:off x="5027334" y="2474547"/>
            <a:ext cx="0" cy="245208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id="{494AAB60-24B4-E74A-BE1B-C423918FE76E}"/>
              </a:ext>
            </a:extLst>
          </p:cNvPr>
          <p:cNvCxnSpPr>
            <a:cxnSpLocks/>
          </p:cNvCxnSpPr>
          <p:nvPr userDrawn="1"/>
        </p:nvCxnSpPr>
        <p:spPr>
          <a:xfrm>
            <a:off x="2608254" y="2474547"/>
            <a:ext cx="0" cy="245208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8A978983-138F-0340-AD4E-DF2CA4EC1DAD}"/>
              </a:ext>
            </a:extLst>
          </p:cNvPr>
          <p:cNvCxnSpPr>
            <a:cxnSpLocks/>
          </p:cNvCxnSpPr>
          <p:nvPr userDrawn="1"/>
        </p:nvCxnSpPr>
        <p:spPr>
          <a:xfrm>
            <a:off x="9901121" y="2474547"/>
            <a:ext cx="0" cy="2452089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2" name="Título 1">
            <a:extLst>
              <a:ext uri="{FF2B5EF4-FFF2-40B4-BE49-F238E27FC236}">
                <a16:creationId xmlns:a16="http://schemas.microsoft.com/office/drawing/2014/main" id="{35480596-A12E-7440-85A2-9AF173247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28" y="458787"/>
            <a:ext cx="3528716" cy="720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Bold 20</a:t>
            </a:r>
            <a:endParaRPr lang="es-CL" dirty="0"/>
          </a:p>
        </p:txBody>
      </p: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638D4AA4-B806-E144-BF08-A1B3773A6A20}"/>
              </a:ext>
            </a:extLst>
          </p:cNvPr>
          <p:cNvCxnSpPr>
            <a:cxnSpLocks/>
          </p:cNvCxnSpPr>
          <p:nvPr userDrawn="1"/>
        </p:nvCxnSpPr>
        <p:spPr>
          <a:xfrm>
            <a:off x="539892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4" name="Marcador de número de diapositiva 1">
            <a:extLst>
              <a:ext uri="{FF2B5EF4-FFF2-40B4-BE49-F238E27FC236}">
                <a16:creationId xmlns:a16="http://schemas.microsoft.com/office/drawing/2014/main" id="{A62BA8AF-38A5-5D4F-8563-B2CC53A243F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9970979" y="6463752"/>
            <a:ext cx="1844164" cy="365125"/>
          </a:xfrm>
        </p:spPr>
        <p:txBody>
          <a:bodyPr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 dirty="0"/>
          </a:p>
        </p:txBody>
      </p:sp>
    </p:spTree>
    <p:extLst>
      <p:ext uri="{BB962C8B-B14F-4D97-AF65-F5344CB8AC3E}">
        <p14:creationId xmlns:p14="http://schemas.microsoft.com/office/powerpoint/2010/main" val="315445330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553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4" orient="horz" pos="27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DBAE7E76-845B-584D-B531-91749B1611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636389710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9" imgW="7772400" imgH="10058400" progId="TCLayout.ActiveDocument.1">
                  <p:embed/>
                </p:oleObj>
              </mc:Choice>
              <mc:Fallback>
                <p:oleObj name="Diapositiva de think-cell" r:id="rId39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DBAE7E76-845B-584D-B531-91749B1611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5CB702D-97CE-8245-A808-2A62C34960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20177" y="6463752"/>
            <a:ext cx="1844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705" r:id="rId2"/>
    <p:sldLayoutId id="2147483710" r:id="rId3"/>
    <p:sldLayoutId id="2147483712" r:id="rId4"/>
    <p:sldLayoutId id="2147483691" r:id="rId5"/>
    <p:sldLayoutId id="2147483668" r:id="rId6"/>
    <p:sldLayoutId id="2147483669" r:id="rId7"/>
    <p:sldLayoutId id="2147483670" r:id="rId8"/>
    <p:sldLayoutId id="2147483672" r:id="rId9"/>
    <p:sldLayoutId id="2147483671" r:id="rId10"/>
    <p:sldLayoutId id="2147483679" r:id="rId11"/>
    <p:sldLayoutId id="2147483674" r:id="rId12"/>
    <p:sldLayoutId id="2147483708" r:id="rId13"/>
    <p:sldLayoutId id="2147483709" r:id="rId14"/>
    <p:sldLayoutId id="2147483673" r:id="rId15"/>
    <p:sldLayoutId id="2147483694" r:id="rId16"/>
    <p:sldLayoutId id="2147483675" r:id="rId17"/>
    <p:sldLayoutId id="2147483676" r:id="rId18"/>
    <p:sldLayoutId id="2147483678" r:id="rId19"/>
    <p:sldLayoutId id="2147483677" r:id="rId20"/>
    <p:sldLayoutId id="2147483695" r:id="rId21"/>
    <p:sldLayoutId id="2147483680" r:id="rId22"/>
    <p:sldLayoutId id="2147483681" r:id="rId23"/>
    <p:sldLayoutId id="2147483682" r:id="rId24"/>
    <p:sldLayoutId id="2147483683" r:id="rId25"/>
    <p:sldLayoutId id="2147483685" r:id="rId26"/>
    <p:sldLayoutId id="2147483686" r:id="rId27"/>
    <p:sldLayoutId id="2147483689" r:id="rId28"/>
    <p:sldLayoutId id="2147483690" r:id="rId29"/>
    <p:sldLayoutId id="2147483688" r:id="rId30"/>
    <p:sldLayoutId id="2147483667" r:id="rId31"/>
    <p:sldLayoutId id="2147483707" r:id="rId32"/>
    <p:sldLayoutId id="2147483697" r:id="rId33"/>
    <p:sldLayoutId id="2147483698" r:id="rId34"/>
    <p:sldLayoutId id="2147483706" r:id="rId35"/>
    <p:sldLayoutId id="2147483702" r:id="rId36"/>
  </p:sldLayoutIdLst>
  <p:transition spd="med"/>
  <p:hf hdr="0" ftr="0" dt="0"/>
  <p:txStyles>
    <p:titleStyle>
      <a:lvl1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2286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0" marR="0" indent="4572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0" marR="0" indent="6858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0" marR="0" indent="9144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304800" marR="0" indent="-304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117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422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1727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20320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2260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2489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27178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2946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2286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4572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6858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9144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1" userDrawn="1">
          <p15:clr>
            <a:srgbClr val="F26B43"/>
          </p15:clr>
        </p15:guide>
        <p15:guide id="2" pos="7394" userDrawn="1">
          <p15:clr>
            <a:srgbClr val="F26B43"/>
          </p15:clr>
        </p15:guide>
        <p15:guide id="3" pos="275" userDrawn="1">
          <p15:clr>
            <a:srgbClr val="F26B43"/>
          </p15:clr>
        </p15:guide>
        <p15:guide id="4" orient="horz" pos="407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9.xml"/><Relationship Id="rId6" Type="http://schemas.openxmlformats.org/officeDocument/2006/relationships/hyperlink" Target="https://www.achs.cl/portal/Paginas/Home.aspx" TargetMode="Externa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8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0.xml"/><Relationship Id="rId6" Type="http://schemas.openxmlformats.org/officeDocument/2006/relationships/image" Target="../media/image26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9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1.xml"/><Relationship Id="rId6" Type="http://schemas.openxmlformats.org/officeDocument/2006/relationships/image" Target="../media/image29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0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2.xml"/><Relationship Id="rId6" Type="http://schemas.openxmlformats.org/officeDocument/2006/relationships/hyperlink" Target="mailto:protocolotmert@achs.cl" TargetMode="Externa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1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emf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3.xml"/><Relationship Id="rId6" Type="http://schemas.openxmlformats.org/officeDocument/2006/relationships/image" Target="../media/image34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4.xml"/><Relationship Id="rId6" Type="http://schemas.openxmlformats.org/officeDocument/2006/relationships/image" Target="../media/image37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3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B225B6FB-289B-594B-91A3-8CE0063C4B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605410" y="4199865"/>
            <a:ext cx="5960707" cy="1300367"/>
          </a:xfrm>
        </p:spPr>
        <p:txBody>
          <a:bodyPr/>
          <a:lstStyle/>
          <a:p>
            <a:pPr lvl="0" rtl="0"/>
            <a:r>
              <a:rPr lang="es-CL" sz="2400" dirty="0"/>
              <a:t>Guía de uso de herramientas para implementación del protocolo TMERT (disponibles en sitio web www.achs.cl)</a:t>
            </a:r>
            <a:endParaRPr lang="es-CL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7544A0D-900A-480C-B886-7849D30A67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s-CL" dirty="0"/>
              <a:t>Mayo 2022</a:t>
            </a:r>
          </a:p>
        </p:txBody>
      </p:sp>
    </p:spTree>
    <p:extLst>
      <p:ext uri="{BB962C8B-B14F-4D97-AF65-F5344CB8AC3E}">
        <p14:creationId xmlns:p14="http://schemas.microsoft.com/office/powerpoint/2010/main" val="3688915657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37361C2-7D8D-F148-AE62-17BED1F4FE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37361C2-7D8D-F148-AE62-17BED1F4F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Marcador de texto 23">
            <a:extLst>
              <a:ext uri="{FF2B5EF4-FFF2-40B4-BE49-F238E27FC236}">
                <a16:creationId xmlns:a16="http://schemas.microsoft.com/office/drawing/2014/main" id="{42B9B605-B12F-6147-BFF4-BCAF18B25A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Donde se encuentran disponibles</a:t>
            </a:r>
          </a:p>
        </p:txBody>
      </p:sp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895E7C57-E423-7444-A1F9-CACBB7D8C0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9263" y="826145"/>
            <a:ext cx="7170738" cy="356282"/>
          </a:xfrm>
        </p:spPr>
        <p:txBody>
          <a:bodyPr/>
          <a:lstStyle/>
          <a:p>
            <a:r>
              <a:rPr lang="es-ES_tradnl" dirty="0"/>
              <a:t>Pestaña herramientas</a:t>
            </a:r>
          </a:p>
        </p:txBody>
      </p:sp>
      <p:sp>
        <p:nvSpPr>
          <p:cNvPr id="33" name="Marcador de número de diapositiva 32">
            <a:extLst>
              <a:ext uri="{FF2B5EF4-FFF2-40B4-BE49-F238E27FC236}">
                <a16:creationId xmlns:a16="http://schemas.microsoft.com/office/drawing/2014/main" id="{D771257B-5667-DF49-BB0E-ADFCDD355D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0979" y="6375539"/>
            <a:ext cx="1844164" cy="365125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2</a:t>
            </a:fld>
            <a:endParaRPr lang="es-CL" dirty="0"/>
          </a:p>
        </p:txBody>
      </p:sp>
      <p:sp>
        <p:nvSpPr>
          <p:cNvPr id="27" name="Marcador de contenido 2">
            <a:extLst>
              <a:ext uri="{FF2B5EF4-FFF2-40B4-BE49-F238E27FC236}">
                <a16:creationId xmlns:a16="http://schemas.microsoft.com/office/drawing/2014/main" id="{CABF179A-1773-435C-8F5E-FF1B1B4CE1A2}"/>
              </a:ext>
            </a:extLst>
          </p:cNvPr>
          <p:cNvSpPr txBox="1">
            <a:spLocks/>
          </p:cNvSpPr>
          <p:nvPr/>
        </p:nvSpPr>
        <p:spPr>
          <a:xfrm>
            <a:off x="3341085" y="1557721"/>
            <a:ext cx="9655709" cy="356282"/>
          </a:xfrm>
        </p:spPr>
        <p:txBody>
          <a:bodyPr>
            <a:normAutofit/>
          </a:bodyPr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just">
              <a:buFontTx/>
              <a:buNone/>
            </a:pPr>
            <a:r>
              <a:rPr lang="es-CL" sz="1800" dirty="0">
                <a:hlinkClick r:id="rId6"/>
              </a:rPr>
              <a:t>https://www.achs.cl/portal/Paginas/Home.aspx</a:t>
            </a:r>
            <a:endParaRPr lang="es-CL" sz="1800" dirty="0"/>
          </a:p>
          <a:p>
            <a:pPr marL="0" indent="0" algn="just">
              <a:buFontTx/>
              <a:buNone/>
            </a:pPr>
            <a:endParaRPr lang="es-CL" sz="1800" dirty="0">
              <a:solidFill>
                <a:srgbClr val="FF0000"/>
              </a:solidFill>
            </a:endParaRPr>
          </a:p>
          <a:p>
            <a:pPr marL="0" indent="0" algn="just">
              <a:buFontTx/>
              <a:buNone/>
            </a:pPr>
            <a:endParaRPr lang="es-CL" sz="1800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95FA0A58-0B08-4960-B520-6F310AEA21C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9338" t="10575" r="11465" b="26743"/>
          <a:stretch/>
        </p:blipFill>
        <p:spPr>
          <a:xfrm>
            <a:off x="2035407" y="2289297"/>
            <a:ext cx="8121185" cy="3615559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412439891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37361C2-7D8D-F148-AE62-17BED1F4FE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37361C2-7D8D-F148-AE62-17BED1F4F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Marcador de texto 23">
            <a:extLst>
              <a:ext uri="{FF2B5EF4-FFF2-40B4-BE49-F238E27FC236}">
                <a16:creationId xmlns:a16="http://schemas.microsoft.com/office/drawing/2014/main" id="{42B9B605-B12F-6147-BFF4-BCAF18B25A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¿Cómo utilizar las herramientas del sitio web?</a:t>
            </a:r>
          </a:p>
        </p:txBody>
      </p:sp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895E7C57-E423-7444-A1F9-CACBB7D8C0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15071" y="1441662"/>
            <a:ext cx="1082357" cy="356282"/>
          </a:xfrm>
        </p:spPr>
        <p:txBody>
          <a:bodyPr/>
          <a:lstStyle/>
          <a:p>
            <a:r>
              <a:rPr lang="es-ES_tradnl" dirty="0"/>
              <a:t>Paso 1 </a:t>
            </a:r>
          </a:p>
        </p:txBody>
      </p:sp>
      <p:sp>
        <p:nvSpPr>
          <p:cNvPr id="33" name="Marcador de número de diapositiva 32">
            <a:extLst>
              <a:ext uri="{FF2B5EF4-FFF2-40B4-BE49-F238E27FC236}">
                <a16:creationId xmlns:a16="http://schemas.microsoft.com/office/drawing/2014/main" id="{D771257B-5667-DF49-BB0E-ADFCDD355D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0979" y="6463752"/>
            <a:ext cx="1844164" cy="365125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3</a:t>
            </a:fld>
            <a:endParaRPr lang="es-CL" dirty="0"/>
          </a:p>
        </p:txBody>
      </p:sp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188F7E02-E3B0-E243-B6C7-271683C9815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1053" y="5623624"/>
            <a:ext cx="2045513" cy="783525"/>
          </a:xfrm>
        </p:spPr>
        <p:txBody>
          <a:bodyPr/>
          <a:lstStyle/>
          <a:p>
            <a:pPr marL="0" lvl="0" indent="0"/>
            <a:r>
              <a:rPr lang="es-CL" sz="1200" dirty="0"/>
              <a:t>Descarga </a:t>
            </a:r>
            <a:r>
              <a:rPr lang="es-CL" sz="1200" b="1" dirty="0"/>
              <a:t>“Manual de implementación TMERT”</a:t>
            </a:r>
            <a:r>
              <a:rPr lang="es-CL" sz="1200" dirty="0"/>
              <a:t> y lee el paso a paso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CBB749E7-A8B7-4CAE-BC32-519A458A62D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7874" t="20775" r="38969" b="23167"/>
          <a:stretch/>
        </p:blipFill>
        <p:spPr>
          <a:xfrm>
            <a:off x="449263" y="1950532"/>
            <a:ext cx="2613977" cy="3559557"/>
          </a:xfrm>
          <a:prstGeom prst="rect">
            <a:avLst/>
          </a:prstGeom>
          <a:ln>
            <a:solidFill>
              <a:srgbClr val="616161"/>
            </a:solidFill>
          </a:ln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B6E48128-A02D-475E-B249-3C1792DAE8B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2156" t="30833" r="19469" b="17999"/>
          <a:stretch/>
        </p:blipFill>
        <p:spPr>
          <a:xfrm>
            <a:off x="5496907" y="2407367"/>
            <a:ext cx="3429000" cy="2040160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</p:spPr>
      </p:pic>
      <p:sp>
        <p:nvSpPr>
          <p:cNvPr id="11" name="Marcador de texto 24">
            <a:extLst>
              <a:ext uri="{FF2B5EF4-FFF2-40B4-BE49-F238E27FC236}">
                <a16:creationId xmlns:a16="http://schemas.microsoft.com/office/drawing/2014/main" id="{338C3E28-584A-481D-9727-82D5904B58C1}"/>
              </a:ext>
            </a:extLst>
          </p:cNvPr>
          <p:cNvSpPr txBox="1">
            <a:spLocks/>
          </p:cNvSpPr>
          <p:nvPr/>
        </p:nvSpPr>
        <p:spPr>
          <a:xfrm>
            <a:off x="6670228" y="1474937"/>
            <a:ext cx="1082357" cy="356282"/>
          </a:xfrm>
          <a:prstGeom prst="rect">
            <a:avLst/>
          </a:prstGeom>
        </p:spPr>
        <p:txBody>
          <a:bodyPr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800" b="0" i="0" u="none" strike="noStrike" cap="none" spc="0" baseline="0">
                <a:solidFill>
                  <a:schemeClr val="bg2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_tradnl" dirty="0"/>
              <a:t>Paso 2 </a:t>
            </a:r>
          </a:p>
        </p:txBody>
      </p:sp>
      <p:sp>
        <p:nvSpPr>
          <p:cNvPr id="12" name="Marcador de texto 9">
            <a:extLst>
              <a:ext uri="{FF2B5EF4-FFF2-40B4-BE49-F238E27FC236}">
                <a16:creationId xmlns:a16="http://schemas.microsoft.com/office/drawing/2014/main" id="{60CB04F7-18DB-4947-B427-5F52C106A705}"/>
              </a:ext>
            </a:extLst>
          </p:cNvPr>
          <p:cNvSpPr txBox="1">
            <a:spLocks/>
          </p:cNvSpPr>
          <p:nvPr/>
        </p:nvSpPr>
        <p:spPr>
          <a:xfrm>
            <a:off x="5866519" y="4664343"/>
            <a:ext cx="2469930" cy="990811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941388" marR="0" indent="-331788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247775" marR="0" indent="-333375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51000" marR="0" indent="-431800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/>
            <a:r>
              <a:rPr lang="es-CL" sz="1200" dirty="0"/>
              <a:t>Realiza la PPT de </a:t>
            </a:r>
            <a:r>
              <a:rPr lang="es-CL" sz="1200" b="1" dirty="0"/>
              <a:t>difusión</a:t>
            </a:r>
            <a:r>
              <a:rPr lang="es-CL" sz="1200" dirty="0"/>
              <a:t> a los CPHS, sindicatos y trabajadores. Entrega en dicha difusión la </a:t>
            </a:r>
            <a:r>
              <a:rPr lang="es-CL" sz="1200" b="1" dirty="0"/>
              <a:t>“ficha técnica informativa TMERT” </a:t>
            </a:r>
            <a:r>
              <a:rPr lang="es-CL" sz="1200" dirty="0"/>
              <a:t>a los participantes. 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A66859EC-0F1D-48B6-B078-0914CDBEC73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38049" t="20813" r="37652" b="22764"/>
          <a:stretch/>
        </p:blipFill>
        <p:spPr>
          <a:xfrm flipH="1">
            <a:off x="8623031" y="4049354"/>
            <a:ext cx="1541557" cy="2013501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635848757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37361C2-7D8D-F148-AE62-17BED1F4FE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37361C2-7D8D-F148-AE62-17BED1F4F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Marcador de texto 23">
            <a:extLst>
              <a:ext uri="{FF2B5EF4-FFF2-40B4-BE49-F238E27FC236}">
                <a16:creationId xmlns:a16="http://schemas.microsoft.com/office/drawing/2014/main" id="{42B9B605-B12F-6147-BFF4-BCAF18B25A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¿Cómo utilizar las herramientas del sitio web?</a:t>
            </a:r>
          </a:p>
        </p:txBody>
      </p:sp>
      <p:sp>
        <p:nvSpPr>
          <p:cNvPr id="33" name="Marcador de número de diapositiva 32">
            <a:extLst>
              <a:ext uri="{FF2B5EF4-FFF2-40B4-BE49-F238E27FC236}">
                <a16:creationId xmlns:a16="http://schemas.microsoft.com/office/drawing/2014/main" id="{D771257B-5667-DF49-BB0E-ADFCDD355D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0979" y="6463752"/>
            <a:ext cx="1844164" cy="365125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4</a:t>
            </a:fld>
            <a:endParaRPr lang="es-CL" dirty="0"/>
          </a:p>
        </p:txBody>
      </p:sp>
      <p:sp>
        <p:nvSpPr>
          <p:cNvPr id="14" name="Marcador de texto 24">
            <a:extLst>
              <a:ext uri="{FF2B5EF4-FFF2-40B4-BE49-F238E27FC236}">
                <a16:creationId xmlns:a16="http://schemas.microsoft.com/office/drawing/2014/main" id="{85AC8746-064E-4252-A39E-5DDE313FD271}"/>
              </a:ext>
            </a:extLst>
          </p:cNvPr>
          <p:cNvSpPr txBox="1">
            <a:spLocks/>
          </p:cNvSpPr>
          <p:nvPr/>
        </p:nvSpPr>
        <p:spPr>
          <a:xfrm>
            <a:off x="5222404" y="1441129"/>
            <a:ext cx="1082357" cy="356282"/>
          </a:xfrm>
          <a:prstGeom prst="rect">
            <a:avLst/>
          </a:prstGeom>
        </p:spPr>
        <p:txBody>
          <a:bodyPr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800" b="0" i="0" u="none" strike="noStrike" cap="none" spc="0" baseline="0">
                <a:solidFill>
                  <a:schemeClr val="bg2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_tradnl" dirty="0"/>
              <a:t>Paso 3 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FE72F25E-AE1F-4BFE-AF13-07DEA3A5A0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6642" y="2148213"/>
            <a:ext cx="3390448" cy="1907127"/>
          </a:xfrm>
          <a:prstGeom prst="rect">
            <a:avLst/>
          </a:prstGeom>
        </p:spPr>
      </p:pic>
      <p:sp>
        <p:nvSpPr>
          <p:cNvPr id="15" name="Marcador de texto 9">
            <a:extLst>
              <a:ext uri="{FF2B5EF4-FFF2-40B4-BE49-F238E27FC236}">
                <a16:creationId xmlns:a16="http://schemas.microsoft.com/office/drawing/2014/main" id="{475950D1-4FC9-4694-B215-482A912B9031}"/>
              </a:ext>
            </a:extLst>
          </p:cNvPr>
          <p:cNvSpPr txBox="1">
            <a:spLocks/>
          </p:cNvSpPr>
          <p:nvPr/>
        </p:nvSpPr>
        <p:spPr>
          <a:xfrm>
            <a:off x="1241298" y="4356398"/>
            <a:ext cx="2469931" cy="1274002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941388" marR="0" indent="-331788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247775" marR="0" indent="-333375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51000" marR="0" indent="-431800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/>
            <a:r>
              <a:rPr lang="es-CL" sz="1200" dirty="0"/>
              <a:t>Revisa la </a:t>
            </a:r>
            <a:r>
              <a:rPr lang="es-CL" sz="1200" b="1" dirty="0"/>
              <a:t>cápsula “Aplicación lista de chequeo TMERT”.</a:t>
            </a:r>
            <a:r>
              <a:rPr lang="es-CL" sz="1200" dirty="0"/>
              <a:t> Aquí aprenderás a utilizar bien la herramienta que ACHS ha elaborado para la aplicación de la lista de chequeo.</a:t>
            </a:r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9D54F1F4-093C-43AD-8433-AD793C04B59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685" t="34643" r="58103" b="19080"/>
          <a:stretch/>
        </p:blipFill>
        <p:spPr>
          <a:xfrm>
            <a:off x="4285538" y="3224993"/>
            <a:ext cx="2956091" cy="201373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0" name="Marcador de texto 9">
            <a:extLst>
              <a:ext uri="{FF2B5EF4-FFF2-40B4-BE49-F238E27FC236}">
                <a16:creationId xmlns:a16="http://schemas.microsoft.com/office/drawing/2014/main" id="{9D5CC5B3-19B3-4F28-92F5-1B3FB942A9AC}"/>
              </a:ext>
            </a:extLst>
          </p:cNvPr>
          <p:cNvSpPr txBox="1">
            <a:spLocks/>
          </p:cNvSpPr>
          <p:nvPr/>
        </p:nvSpPr>
        <p:spPr>
          <a:xfrm>
            <a:off x="4528618" y="5416338"/>
            <a:ext cx="2469930" cy="990811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941388" marR="0" indent="-331788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247775" marR="0" indent="-333375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51000" marR="0" indent="-431800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/>
            <a:r>
              <a:rPr lang="es-CL" sz="1200" dirty="0"/>
              <a:t>Descarga </a:t>
            </a:r>
            <a:r>
              <a:rPr lang="es-CL" sz="1200" b="1" dirty="0"/>
              <a:t>“Lista de chequeo TMERT”</a:t>
            </a:r>
            <a:r>
              <a:rPr lang="es-CL" sz="1200" dirty="0"/>
              <a:t> (versión imprimir) y aplica a los puestos de trabajo y tareas que corresponda.</a:t>
            </a:r>
          </a:p>
        </p:txBody>
      </p:sp>
      <p:pic>
        <p:nvPicPr>
          <p:cNvPr id="21" name="Imagen 20">
            <a:extLst>
              <a:ext uri="{FF2B5EF4-FFF2-40B4-BE49-F238E27FC236}">
                <a16:creationId xmlns:a16="http://schemas.microsoft.com/office/drawing/2014/main" id="{4EC9E472-AFFF-4640-A9C2-1D1F6F92AB4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30077" y="2175881"/>
            <a:ext cx="4053322" cy="126686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2" name="Marcador de texto 9">
            <a:extLst>
              <a:ext uri="{FF2B5EF4-FFF2-40B4-BE49-F238E27FC236}">
                <a16:creationId xmlns:a16="http://schemas.microsoft.com/office/drawing/2014/main" id="{A3B57DF0-C142-4472-B3A6-F542069B4DB6}"/>
              </a:ext>
            </a:extLst>
          </p:cNvPr>
          <p:cNvSpPr txBox="1">
            <a:spLocks/>
          </p:cNvSpPr>
          <p:nvPr/>
        </p:nvSpPr>
        <p:spPr>
          <a:xfrm>
            <a:off x="7995573" y="3661355"/>
            <a:ext cx="2758966" cy="787970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941388" marR="0" indent="-331788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247775" marR="0" indent="-333375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51000" marR="0" indent="-431800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/>
            <a:r>
              <a:rPr lang="es-CL" sz="1200" dirty="0"/>
              <a:t>Los resultados obtenidos anótalos en </a:t>
            </a:r>
            <a:r>
              <a:rPr lang="es-CL" sz="1200" b="1" dirty="0"/>
              <a:t>la “planilla resumen protocolo  TMERT”</a:t>
            </a:r>
          </a:p>
        </p:txBody>
      </p:sp>
    </p:spTree>
    <p:extLst>
      <p:ext uri="{BB962C8B-B14F-4D97-AF65-F5344CB8AC3E}">
        <p14:creationId xmlns:p14="http://schemas.microsoft.com/office/powerpoint/2010/main" val="4148883132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37361C2-7D8D-F148-AE62-17BED1F4FE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37361C2-7D8D-F148-AE62-17BED1F4F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Marcador de texto 23">
            <a:extLst>
              <a:ext uri="{FF2B5EF4-FFF2-40B4-BE49-F238E27FC236}">
                <a16:creationId xmlns:a16="http://schemas.microsoft.com/office/drawing/2014/main" id="{42B9B605-B12F-6147-BFF4-BCAF18B25A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¿Cómo utilizar las herramientas del sitio web?</a:t>
            </a:r>
          </a:p>
        </p:txBody>
      </p:sp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895E7C57-E423-7444-A1F9-CACBB7D8C0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87360" y="1641358"/>
            <a:ext cx="1082357" cy="356282"/>
          </a:xfrm>
        </p:spPr>
        <p:txBody>
          <a:bodyPr/>
          <a:lstStyle/>
          <a:p>
            <a:r>
              <a:rPr lang="es-ES_tradnl" dirty="0"/>
              <a:t>Paso 4 </a:t>
            </a:r>
          </a:p>
        </p:txBody>
      </p:sp>
      <p:sp>
        <p:nvSpPr>
          <p:cNvPr id="33" name="Marcador de número de diapositiva 32">
            <a:extLst>
              <a:ext uri="{FF2B5EF4-FFF2-40B4-BE49-F238E27FC236}">
                <a16:creationId xmlns:a16="http://schemas.microsoft.com/office/drawing/2014/main" id="{D771257B-5667-DF49-BB0E-ADFCDD355D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0979" y="6463752"/>
            <a:ext cx="1844164" cy="365125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5</a:t>
            </a:fld>
            <a:endParaRPr lang="es-CL" dirty="0"/>
          </a:p>
        </p:txBody>
      </p:sp>
      <p:sp>
        <p:nvSpPr>
          <p:cNvPr id="15" name="Marcador de texto 9">
            <a:extLst>
              <a:ext uri="{FF2B5EF4-FFF2-40B4-BE49-F238E27FC236}">
                <a16:creationId xmlns:a16="http://schemas.microsoft.com/office/drawing/2014/main" id="{475950D1-4FC9-4694-B215-482A912B9031}"/>
              </a:ext>
            </a:extLst>
          </p:cNvPr>
          <p:cNvSpPr txBox="1">
            <a:spLocks/>
          </p:cNvSpPr>
          <p:nvPr/>
        </p:nvSpPr>
        <p:spPr>
          <a:xfrm>
            <a:off x="4893573" y="3831190"/>
            <a:ext cx="2469930" cy="1274002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941388" marR="0" indent="-331788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247775" marR="0" indent="-333375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51000" marR="0" indent="-431800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/>
            <a:r>
              <a:rPr lang="es-CL" sz="1200" dirty="0"/>
              <a:t>El archivo Excel con las tareas evaluadas y las medidas de control propuestas envíalas al correo </a:t>
            </a:r>
            <a:r>
              <a:rPr lang="es-CL" sz="1200" b="1" dirty="0">
                <a:hlinkClick r:id="rId6"/>
              </a:rPr>
              <a:t>protocolotmert@achs.cl</a:t>
            </a:r>
            <a:endParaRPr lang="es-CL" sz="1200" b="1" dirty="0"/>
          </a:p>
          <a:p>
            <a:pPr marL="0" indent="0"/>
            <a:endParaRPr lang="es-CL" sz="1200" b="1" dirty="0"/>
          </a:p>
        </p:txBody>
      </p:sp>
      <p:pic>
        <p:nvPicPr>
          <p:cNvPr id="9" name="Gráfico 8" descr="Correo electrónico con relleno sólido">
            <a:extLst>
              <a:ext uri="{FF2B5EF4-FFF2-40B4-BE49-F238E27FC236}">
                <a16:creationId xmlns:a16="http://schemas.microsoft.com/office/drawing/2014/main" id="{D5696594-C66A-45A3-B83C-EE9386A8842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587360" y="245721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2371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37361C2-7D8D-F148-AE62-17BED1F4FE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37361C2-7D8D-F148-AE62-17BED1F4F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Marcador de texto 23">
            <a:extLst>
              <a:ext uri="{FF2B5EF4-FFF2-40B4-BE49-F238E27FC236}">
                <a16:creationId xmlns:a16="http://schemas.microsoft.com/office/drawing/2014/main" id="{42B9B605-B12F-6147-BFF4-BCAF18B25A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Material complementario</a:t>
            </a:r>
          </a:p>
        </p:txBody>
      </p:sp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895E7C57-E423-7444-A1F9-CACBB7D8C0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9263" y="1360201"/>
            <a:ext cx="3783143" cy="356282"/>
          </a:xfrm>
        </p:spPr>
        <p:txBody>
          <a:bodyPr/>
          <a:lstStyle/>
          <a:p>
            <a:r>
              <a:rPr lang="es-ES_tradnl" dirty="0"/>
              <a:t>Manual de prevención TMERT</a:t>
            </a:r>
          </a:p>
        </p:txBody>
      </p:sp>
      <p:sp>
        <p:nvSpPr>
          <p:cNvPr id="33" name="Marcador de número de diapositiva 32">
            <a:extLst>
              <a:ext uri="{FF2B5EF4-FFF2-40B4-BE49-F238E27FC236}">
                <a16:creationId xmlns:a16="http://schemas.microsoft.com/office/drawing/2014/main" id="{D771257B-5667-DF49-BB0E-ADFCDD355D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0979" y="6463752"/>
            <a:ext cx="1844164" cy="365125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6</a:t>
            </a:fld>
            <a:endParaRPr lang="es-CL" dirty="0"/>
          </a:p>
        </p:txBody>
      </p:sp>
      <p:sp>
        <p:nvSpPr>
          <p:cNvPr id="11" name="Marcador de texto 24">
            <a:extLst>
              <a:ext uri="{FF2B5EF4-FFF2-40B4-BE49-F238E27FC236}">
                <a16:creationId xmlns:a16="http://schemas.microsoft.com/office/drawing/2014/main" id="{338C3E28-584A-481D-9727-82D5904B58C1}"/>
              </a:ext>
            </a:extLst>
          </p:cNvPr>
          <p:cNvSpPr txBox="1">
            <a:spLocks/>
          </p:cNvSpPr>
          <p:nvPr/>
        </p:nvSpPr>
        <p:spPr>
          <a:xfrm>
            <a:off x="4317614" y="1349467"/>
            <a:ext cx="3029117" cy="356282"/>
          </a:xfrm>
          <a:prstGeom prst="rect">
            <a:avLst/>
          </a:prstGeom>
        </p:spPr>
        <p:txBody>
          <a:bodyPr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800" b="0" i="0" u="none" strike="noStrike" cap="none" spc="0" baseline="0">
                <a:solidFill>
                  <a:schemeClr val="bg2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_tradnl" dirty="0"/>
              <a:t>Ficha técnica preventiva</a:t>
            </a:r>
          </a:p>
        </p:txBody>
      </p:sp>
      <p:sp>
        <p:nvSpPr>
          <p:cNvPr id="14" name="Marcador de texto 24">
            <a:extLst>
              <a:ext uri="{FF2B5EF4-FFF2-40B4-BE49-F238E27FC236}">
                <a16:creationId xmlns:a16="http://schemas.microsoft.com/office/drawing/2014/main" id="{85AC8746-064E-4252-A39E-5DDE313FD271}"/>
              </a:ext>
            </a:extLst>
          </p:cNvPr>
          <p:cNvSpPr txBox="1">
            <a:spLocks/>
          </p:cNvSpPr>
          <p:nvPr/>
        </p:nvSpPr>
        <p:spPr>
          <a:xfrm>
            <a:off x="7702927" y="1338733"/>
            <a:ext cx="3616713" cy="356282"/>
          </a:xfrm>
          <a:prstGeom prst="rect">
            <a:avLst/>
          </a:prstGeom>
        </p:spPr>
        <p:txBody>
          <a:bodyPr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800" b="0" i="0" u="none" strike="noStrike" cap="none" spc="0" baseline="0">
                <a:solidFill>
                  <a:schemeClr val="bg2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_tradnl" dirty="0"/>
              <a:t>Ficha datos generales (anexo 4)</a:t>
            </a:r>
          </a:p>
        </p:txBody>
      </p:sp>
      <p:sp>
        <p:nvSpPr>
          <p:cNvPr id="15" name="Marcador de texto 9">
            <a:extLst>
              <a:ext uri="{FF2B5EF4-FFF2-40B4-BE49-F238E27FC236}">
                <a16:creationId xmlns:a16="http://schemas.microsoft.com/office/drawing/2014/main" id="{475950D1-4FC9-4694-B215-482A912B9031}"/>
              </a:ext>
            </a:extLst>
          </p:cNvPr>
          <p:cNvSpPr txBox="1">
            <a:spLocks/>
          </p:cNvSpPr>
          <p:nvPr/>
        </p:nvSpPr>
        <p:spPr>
          <a:xfrm>
            <a:off x="820388" y="5133147"/>
            <a:ext cx="2469930" cy="1274002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941388" marR="0" indent="-331788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247775" marR="0" indent="-333375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51000" marR="0" indent="-431800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/>
            <a:r>
              <a:rPr lang="es-CL" sz="1200" dirty="0"/>
              <a:t>Manual que contiene medidas prevención para TMERT. Es un apoyo para generar el plan de acción en aquellas tareas que tienen riesgo “rojo” y “amarillo”</a:t>
            </a:r>
            <a:endParaRPr lang="es-CL" sz="1200" b="1" dirty="0"/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A55F6788-690F-4BF2-84B3-997B933C1FB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5225" t="21273" r="35955" b="10861"/>
          <a:stretch/>
        </p:blipFill>
        <p:spPr>
          <a:xfrm>
            <a:off x="820388" y="1876401"/>
            <a:ext cx="2373709" cy="314412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993C613B-3568-407F-9640-6684E91F577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3455" t="20375" r="35259" b="6574"/>
          <a:stretch/>
        </p:blipFill>
        <p:spPr>
          <a:xfrm>
            <a:off x="4674966" y="2237391"/>
            <a:ext cx="1844164" cy="242214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9" name="Marcador de texto 9">
            <a:extLst>
              <a:ext uri="{FF2B5EF4-FFF2-40B4-BE49-F238E27FC236}">
                <a16:creationId xmlns:a16="http://schemas.microsoft.com/office/drawing/2014/main" id="{37FF535C-3709-4A8F-A441-FE61C12349BA}"/>
              </a:ext>
            </a:extLst>
          </p:cNvPr>
          <p:cNvSpPr txBox="1">
            <a:spLocks/>
          </p:cNvSpPr>
          <p:nvPr/>
        </p:nvSpPr>
        <p:spPr>
          <a:xfrm>
            <a:off x="4504264" y="5133147"/>
            <a:ext cx="2469930" cy="1274002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941388" marR="0" indent="-331788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247775" marR="0" indent="-333375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51000" marR="0" indent="-431800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/>
            <a:r>
              <a:rPr lang="es-CL" sz="1200" dirty="0"/>
              <a:t>Ficha de apoyo que entrega medidas de control básicas para la prevención de TMERT. Diseñado para entregar al trabajador o trabajadora</a:t>
            </a:r>
            <a:endParaRPr lang="es-CL" sz="1200" b="1" dirty="0"/>
          </a:p>
        </p:txBody>
      </p:sp>
      <p:sp>
        <p:nvSpPr>
          <p:cNvPr id="21" name="Marcador de texto 9">
            <a:extLst>
              <a:ext uri="{FF2B5EF4-FFF2-40B4-BE49-F238E27FC236}">
                <a16:creationId xmlns:a16="http://schemas.microsoft.com/office/drawing/2014/main" id="{5E2BEE47-707B-492E-ADC9-AF495A1D3939}"/>
              </a:ext>
            </a:extLst>
          </p:cNvPr>
          <p:cNvSpPr txBox="1">
            <a:spLocks/>
          </p:cNvSpPr>
          <p:nvPr/>
        </p:nvSpPr>
        <p:spPr>
          <a:xfrm>
            <a:off x="7942381" y="5348590"/>
            <a:ext cx="3137803" cy="1274002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941388" marR="0" indent="-331788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247775" marR="0" indent="-333375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51000" marR="0" indent="-431800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/>
            <a:r>
              <a:rPr lang="es-CL" sz="1200" dirty="0"/>
              <a:t>Ficha que permite resumir los resultados de la aplicación de la lista de chequeo por Puesto de trabajo/tareas. (en ocasiones solicitado por la autoridad sanitaria) </a:t>
            </a:r>
            <a:endParaRPr lang="es-CL" sz="1200" b="1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3ACCB3BB-F35F-4F47-906B-D594D8DB826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22687" y="1958202"/>
            <a:ext cx="3948925" cy="314412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412653768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C37361C2-7D8D-F148-AE62-17BED1F4FE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C37361C2-7D8D-F148-AE62-17BED1F4F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Marcador de texto 23">
            <a:extLst>
              <a:ext uri="{FF2B5EF4-FFF2-40B4-BE49-F238E27FC236}">
                <a16:creationId xmlns:a16="http://schemas.microsoft.com/office/drawing/2014/main" id="{42B9B605-B12F-6147-BFF4-BCAF18B25A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_tradnl" dirty="0"/>
              <a:t>Autoevaluación</a:t>
            </a:r>
          </a:p>
        </p:txBody>
      </p:sp>
      <p:sp>
        <p:nvSpPr>
          <p:cNvPr id="33" name="Marcador de número de diapositiva 32">
            <a:extLst>
              <a:ext uri="{FF2B5EF4-FFF2-40B4-BE49-F238E27FC236}">
                <a16:creationId xmlns:a16="http://schemas.microsoft.com/office/drawing/2014/main" id="{D771257B-5667-DF49-BB0E-ADFCDD355D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970979" y="6463752"/>
            <a:ext cx="1844164" cy="365125"/>
          </a:xfrm>
        </p:spPr>
        <p:txBody>
          <a:bodyPr/>
          <a:lstStyle/>
          <a:p>
            <a:fld id="{B37290F3-BA30-9341-A10E-737EC97582C1}" type="slidenum">
              <a:rPr lang="es-CL" smtClean="0"/>
              <a:pPr/>
              <a:t>7</a:t>
            </a:fld>
            <a:endParaRPr lang="es-CL" dirty="0"/>
          </a:p>
        </p:txBody>
      </p:sp>
      <p:sp>
        <p:nvSpPr>
          <p:cNvPr id="14" name="Marcador de texto 24">
            <a:extLst>
              <a:ext uri="{FF2B5EF4-FFF2-40B4-BE49-F238E27FC236}">
                <a16:creationId xmlns:a16="http://schemas.microsoft.com/office/drawing/2014/main" id="{85AC8746-064E-4252-A39E-5DDE313FD271}"/>
              </a:ext>
            </a:extLst>
          </p:cNvPr>
          <p:cNvSpPr txBox="1">
            <a:spLocks/>
          </p:cNvSpPr>
          <p:nvPr/>
        </p:nvSpPr>
        <p:spPr>
          <a:xfrm>
            <a:off x="850184" y="1522240"/>
            <a:ext cx="5765242" cy="501039"/>
          </a:xfrm>
          <a:prstGeom prst="rect">
            <a:avLst/>
          </a:prstGeom>
        </p:spPr>
        <p:txBody>
          <a:bodyPr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800" b="0" i="0" u="none" strike="noStrike" cap="none" spc="0" baseline="0">
                <a:solidFill>
                  <a:schemeClr val="bg2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_tradnl" dirty="0"/>
              <a:t>Disponible en pestaña de “autoevaluación”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31C18AEC-5C46-4E51-A1CF-6E02BD2F0EF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897" t="41687" r="26198" b="10191"/>
          <a:stretch/>
        </p:blipFill>
        <p:spPr>
          <a:xfrm>
            <a:off x="958349" y="2023280"/>
            <a:ext cx="5765242" cy="217034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21" name="Marcador de texto 9">
            <a:extLst>
              <a:ext uri="{FF2B5EF4-FFF2-40B4-BE49-F238E27FC236}">
                <a16:creationId xmlns:a16="http://schemas.microsoft.com/office/drawing/2014/main" id="{5E2BEE47-707B-492E-ADC9-AF495A1D3939}"/>
              </a:ext>
            </a:extLst>
          </p:cNvPr>
          <p:cNvSpPr txBox="1">
            <a:spLocks/>
          </p:cNvSpPr>
          <p:nvPr/>
        </p:nvSpPr>
        <p:spPr>
          <a:xfrm>
            <a:off x="814067" y="4415053"/>
            <a:ext cx="6805934" cy="1912175"/>
          </a:xfrm>
          <a:prstGeom prst="rect">
            <a:avLst/>
          </a:prstGeom>
        </p:spPr>
        <p:txBody>
          <a:bodyPr/>
          <a:lstStyle>
            <a:lvl1pPr marL="304800" marR="0" indent="-304800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676275" marR="0" indent="-371475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941388" marR="0" indent="-331788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247775" marR="0" indent="-333375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651000" marR="0" indent="-431800" algn="l" defTabSz="1218406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/>
            <a:r>
              <a:rPr lang="es-CL" sz="1200" dirty="0"/>
              <a:t>Pauta que contiene los requisitos que solicita la autoridad sanitaria cuando fiscaliza el protocolo TMERT. Arroja un gráfico de cumplimiento. </a:t>
            </a:r>
          </a:p>
          <a:p>
            <a:pPr marL="0" indent="0"/>
            <a:r>
              <a:rPr lang="es-CL" sz="1200" dirty="0"/>
              <a:t>Te permite ir avanzando en el cumplimiento del protocolo, verificando el estándar establecido por la autoridad sanitaria mediante preguntas tipo </a:t>
            </a:r>
            <a:r>
              <a:rPr lang="es-CL" sz="1200" dirty="0" err="1"/>
              <a:t>check</a:t>
            </a:r>
            <a:r>
              <a:rPr lang="es-CL" sz="1200" dirty="0"/>
              <a:t> </a:t>
            </a:r>
            <a:r>
              <a:rPr lang="es-CL" sz="1200" dirty="0" err="1"/>
              <a:t>list</a:t>
            </a:r>
            <a:r>
              <a:rPr lang="es-CL" sz="1200" dirty="0"/>
              <a:t> y de esta manera quedará en evidencia aquellos puntos que debes gestionar para el centro de trabajo.</a:t>
            </a:r>
          </a:p>
          <a:p>
            <a:pPr marL="0" indent="0"/>
            <a:r>
              <a:rPr lang="es-CL" sz="1200" dirty="0"/>
              <a:t>Esto te permite una guía del proceso de implementación y se aplica durante el transcurso que se esté aplicando el protocolo. </a:t>
            </a:r>
          </a:p>
          <a:p>
            <a:pPr marL="0" indent="0"/>
            <a:endParaRPr lang="es-CL" sz="1200" b="1" dirty="0"/>
          </a:p>
        </p:txBody>
      </p:sp>
    </p:spTree>
    <p:extLst>
      <p:ext uri="{BB962C8B-B14F-4D97-AF65-F5344CB8AC3E}">
        <p14:creationId xmlns:p14="http://schemas.microsoft.com/office/powerpoint/2010/main" val="1238913535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150644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2832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4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B&lt;/m_strFormatTime&gt;&lt;m_yearfmt&gt;&lt;begin val=&quot;0&quot;/&gt;&lt;end val=&quot;4&quot;/&gt;&lt;/m_yearfmt&gt;&lt;/m_precDefaultMonth&gt;&lt;m_precDefaultWeek&gt;&lt;m_bNumberIsYear val=&quot;0&quot;/&gt;&lt;m_strFormatTime&gt;%d.%m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1_BasicWhite">
  <a:themeElements>
    <a:clrScheme name="Achs3 1">
      <a:dk1>
        <a:srgbClr val="0C662F"/>
      </a:dk1>
      <a:lt1>
        <a:srgbClr val="FFFFFF"/>
      </a:lt1>
      <a:dk2>
        <a:srgbClr val="616161"/>
      </a:dk2>
      <a:lt2>
        <a:srgbClr val="83B727"/>
      </a:lt2>
      <a:accent1>
        <a:srgbClr val="00857D"/>
      </a:accent1>
      <a:accent2>
        <a:srgbClr val="F2E500"/>
      </a:accent2>
      <a:accent3>
        <a:srgbClr val="8A8A8A"/>
      </a:accent3>
      <a:accent4>
        <a:srgbClr val="6BBBAE"/>
      </a:accent4>
      <a:accent5>
        <a:srgbClr val="ECC3B2"/>
      </a:accent5>
      <a:accent6>
        <a:srgbClr val="890C58"/>
      </a:accent6>
      <a:hlink>
        <a:srgbClr val="83BD00"/>
      </a:hlink>
      <a:folHlink>
        <a:srgbClr val="004F5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2438338" rtl="0" fontAlgn="auto" latinLnBrk="0" hangingPunct="0">
          <a:lnSpc>
            <a:spcPct val="90000"/>
          </a:lnSpc>
          <a:spcBef>
            <a:spcPts val="4500"/>
          </a:spcBef>
          <a:spcAft>
            <a:spcPts val="0"/>
          </a:spcAft>
          <a:buClrTx/>
          <a:buSzTx/>
          <a:buFontTx/>
          <a:buNone/>
          <a:tabLst/>
          <a:defRPr kumimoji="0" sz="4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Achs_template_2020" id="{51F7E6E5-7C30-EC4A-8159-8FB9119F0B22}" vid="{A31DE21C-DB4F-DE4C-A8A1-ECD911F8D2DB}"/>
    </a:ext>
  </a:extLst>
</a:theme>
</file>

<file path=ppt/theme/theme2.xml><?xml version="1.0" encoding="utf-8"?>
<a:theme xmlns:a="http://schemas.openxmlformats.org/drawingml/2006/main" name="21_BasicWhite">
  <a:themeElements>
    <a:clrScheme name="21_Basic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2438338" rtl="0" fontAlgn="auto" latinLnBrk="0" hangingPunct="0">
          <a:lnSpc>
            <a:spcPct val="90000"/>
          </a:lnSpc>
          <a:spcBef>
            <a:spcPts val="4500"/>
          </a:spcBef>
          <a:spcAft>
            <a:spcPts val="0"/>
          </a:spcAft>
          <a:buClrTx/>
          <a:buSzTx/>
          <a:buFontTx/>
          <a:buNone/>
          <a:tabLst/>
          <a:defRPr kumimoji="0" sz="4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43386C30C2BF64386DB463E8F4594B2" ma:contentTypeVersion="11" ma:contentTypeDescription="Create a new document." ma:contentTypeScope="" ma:versionID="6d23ca3f4ccfd6a3ba006b6e7368307d">
  <xsd:schema xmlns:xsd="http://www.w3.org/2001/XMLSchema" xmlns:xs="http://www.w3.org/2001/XMLSchema" xmlns:p="http://schemas.microsoft.com/office/2006/metadata/properties" xmlns:ns3="4cd4965c-111d-4934-bfaf-cc422d55466d" xmlns:ns4="c3f0370a-6320-4012-9aba-2eb249a02e60" targetNamespace="http://schemas.microsoft.com/office/2006/metadata/properties" ma:root="true" ma:fieldsID="aaf5583f699a8698299a69699e299def" ns3:_="" ns4:_="">
    <xsd:import namespace="4cd4965c-111d-4934-bfaf-cc422d55466d"/>
    <xsd:import namespace="c3f0370a-6320-4012-9aba-2eb249a02e60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d4965c-111d-4934-bfaf-cc422d55466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f0370a-6320-4012-9aba-2eb249a02e6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5C1C608-9CAC-4853-8C83-4C1910FC604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7BFAB34-9339-47C7-984F-C27D3D7CBD8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cd4965c-111d-4934-bfaf-cc422d55466d"/>
    <ds:schemaRef ds:uri="c3f0370a-6320-4012-9aba-2eb249a02e6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E85A58B-7169-4658-BF0D-6509EAB800FE}">
  <ds:schemaRefs>
    <ds:schemaRef ds:uri="http://schemas.microsoft.com/office/2006/metadata/properties"/>
    <ds:schemaRef ds:uri="4cd4965c-111d-4934-bfaf-cc422d55466d"/>
    <ds:schemaRef ds:uri="http://schemas.microsoft.com/office/2006/documentManagement/types"/>
    <ds:schemaRef ds:uri="http://purl.org/dc/terms/"/>
    <ds:schemaRef ds:uri="http://purl.org/dc/elements/1.1/"/>
    <ds:schemaRef ds:uri="http://purl.org/dc/dcmitype/"/>
    <ds:schemaRef ds:uri="http://www.w3.org/XML/1998/namespace"/>
    <ds:schemaRef ds:uri="c3f0370a-6320-4012-9aba-2eb249a02e60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1_BasicWhite</Template>
  <TotalTime>22790</TotalTime>
  <Words>403</Words>
  <Application>Microsoft Office PowerPoint</Application>
  <PresentationFormat>Panorámica</PresentationFormat>
  <Paragraphs>36</Paragraphs>
  <Slides>8</Slides>
  <Notes>6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15" baseType="lpstr">
      <vt:lpstr>.Lucida Grande UI Regular</vt:lpstr>
      <vt:lpstr>Arial</vt:lpstr>
      <vt:lpstr>Calibri</vt:lpstr>
      <vt:lpstr>Helvetica Neue Medium</vt:lpstr>
      <vt:lpstr>Wingdings</vt:lpstr>
      <vt:lpstr>21_BasicWhit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Jo Quezada</dc:creator>
  <cp:lastModifiedBy>Pinto Retamal, Rodrigo Enrique</cp:lastModifiedBy>
  <cp:revision>196</cp:revision>
  <dcterms:created xsi:type="dcterms:W3CDTF">2020-05-27T23:52:59Z</dcterms:created>
  <dcterms:modified xsi:type="dcterms:W3CDTF">2022-06-07T19:47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43386C30C2BF64386DB463E8F4594B2</vt:lpwstr>
  </property>
</Properties>
</file>